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120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4.11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Slovensko</c:v>
                </c:pt>
                <c:pt idx="1">
                  <c:v>Česká republika</c:v>
                </c:pt>
                <c:pt idx="2">
                  <c:v>Belgie</c:v>
                </c:pt>
                <c:pt idx="3">
                  <c:v>Rakousko</c:v>
                </c:pt>
                <c:pt idx="4">
                  <c:v>Lichtenštejnsko</c:v>
                </c:pt>
                <c:pt idx="5">
                  <c:v>Slovinsko</c:v>
                </c:pt>
                <c:pt idx="6">
                  <c:v>Nizozemsko</c:v>
                </c:pt>
                <c:pt idx="7">
                  <c:v>Chorvatsko</c:v>
                </c:pt>
                <c:pt idx="8">
                  <c:v>Maďarsko</c:v>
                </c:pt>
                <c:pt idx="9">
                  <c:v>Irsko</c:v>
                </c:pt>
                <c:pt idx="10">
                  <c:v>Dánsko</c:v>
                </c:pt>
                <c:pt idx="11">
                  <c:v>Německo</c:v>
                </c:pt>
                <c:pt idx="12">
                  <c:v>Litva</c:v>
                </c:pt>
                <c:pt idx="13">
                  <c:v>Velká Británie</c:v>
                </c:pt>
                <c:pt idx="14">
                  <c:v>Řecko</c:v>
                </c:pt>
                <c:pt idx="15">
                  <c:v>Polsko</c:v>
                </c:pt>
                <c:pt idx="16">
                  <c:v>Lucembursko</c:v>
                </c:pt>
                <c:pt idx="17">
                  <c:v>Estonsko</c:v>
                </c:pt>
                <c:pt idx="18">
                  <c:v>Lotyšsko</c:v>
                </c:pt>
                <c:pt idx="19">
                  <c:v>Norsko</c:v>
                </c:pt>
                <c:pt idx="20">
                  <c:v>Kypr</c:v>
                </c:pt>
                <c:pt idx="21">
                  <c:v>Island</c:v>
                </c:pt>
                <c:pt idx="22">
                  <c:v>Bulharsko</c:v>
                </c:pt>
                <c:pt idx="23">
                  <c:v>Francie</c:v>
                </c:pt>
                <c:pt idx="24">
                  <c:v>Portugalsko</c:v>
                </c:pt>
                <c:pt idx="25">
                  <c:v>Finsko</c:v>
                </c:pt>
                <c:pt idx="26">
                  <c:v>Itálie</c:v>
                </c:pt>
                <c:pt idx="27">
                  <c:v>Malta</c:v>
                </c:pt>
                <c:pt idx="28">
                  <c:v>Španělsko</c:v>
                </c:pt>
                <c:pt idx="29">
                  <c:v>Švédsko</c:v>
                </c:pt>
                <c:pt idx="30">
                  <c:v>Rumu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2128.8512942679317</c:v>
                </c:pt>
                <c:pt idx="1">
                  <c:v>1218.8399428872747</c:v>
                </c:pt>
                <c:pt idx="2">
                  <c:v>1140.1057414922534</c:v>
                </c:pt>
                <c:pt idx="3">
                  <c:v>1524.6716572310906</c:v>
                </c:pt>
                <c:pt idx="4">
                  <c:v>627.14532738018431</c:v>
                </c:pt>
                <c:pt idx="5">
                  <c:v>2045.0783711324368</c:v>
                </c:pt>
                <c:pt idx="6">
                  <c:v>936.14364083243026</c:v>
                </c:pt>
                <c:pt idx="7">
                  <c:v>1685.8111979182709</c:v>
                </c:pt>
                <c:pt idx="8">
                  <c:v>882.48907879461092</c:v>
                </c:pt>
                <c:pt idx="9">
                  <c:v>1099.4794981911352</c:v>
                </c:pt>
                <c:pt idx="10">
                  <c:v>663.9974871036311</c:v>
                </c:pt>
                <c:pt idx="11">
                  <c:v>539.29630570577683</c:v>
                </c:pt>
                <c:pt idx="12">
                  <c:v>1213.8478001782335</c:v>
                </c:pt>
                <c:pt idx="13">
                  <c:v>697.6211515441928</c:v>
                </c:pt>
                <c:pt idx="14">
                  <c:v>836.48324192650784</c:v>
                </c:pt>
                <c:pt idx="15">
                  <c:v>484.39678468949137</c:v>
                </c:pt>
                <c:pt idx="16">
                  <c:v>492.08762705475732</c:v>
                </c:pt>
                <c:pt idx="17">
                  <c:v>1296.261181541277</c:v>
                </c:pt>
                <c:pt idx="18">
                  <c:v>1111.3528247736119</c:v>
                </c:pt>
                <c:pt idx="19">
                  <c:v>403.347504834581</c:v>
                </c:pt>
                <c:pt idx="20">
                  <c:v>349.88541731183949</c:v>
                </c:pt>
                <c:pt idx="21">
                  <c:v>549.7976019816881</c:v>
                </c:pt>
                <c:pt idx="22">
                  <c:v>773.7055206357436</c:v>
                </c:pt>
                <c:pt idx="23">
                  <c:v>173.78583574360485</c:v>
                </c:pt>
                <c:pt idx="24">
                  <c:v>167.35773402814652</c:v>
                </c:pt>
                <c:pt idx="25">
                  <c:v>199.44647269320788</c:v>
                </c:pt>
                <c:pt idx="26">
                  <c:v>155.26775589502395</c:v>
                </c:pt>
                <c:pt idx="27">
                  <c:v>113.29980332864328</c:v>
                </c:pt>
                <c:pt idx="28">
                  <c:v>87.045689046457483</c:v>
                </c:pt>
                <c:pt idx="29">
                  <c:v>105.34888636641138</c:v>
                </c:pt>
                <c:pt idx="30">
                  <c:v>446.32274325026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8.11.202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Slovensko</c:v>
                </c:pt>
                <c:pt idx="1">
                  <c:v>Česká republika</c:v>
                </c:pt>
                <c:pt idx="2">
                  <c:v>Belgie</c:v>
                </c:pt>
                <c:pt idx="3">
                  <c:v>Rakousko</c:v>
                </c:pt>
                <c:pt idx="4">
                  <c:v>Lichtenštejnsko</c:v>
                </c:pt>
                <c:pt idx="5">
                  <c:v>Slovinsko</c:v>
                </c:pt>
                <c:pt idx="6">
                  <c:v>Nizozemsko</c:v>
                </c:pt>
                <c:pt idx="7">
                  <c:v>Chorvatsko</c:v>
                </c:pt>
                <c:pt idx="8">
                  <c:v>Maďarsko</c:v>
                </c:pt>
                <c:pt idx="9">
                  <c:v>Irsko</c:v>
                </c:pt>
                <c:pt idx="10">
                  <c:v>Dánsko</c:v>
                </c:pt>
                <c:pt idx="11">
                  <c:v>Německo</c:v>
                </c:pt>
                <c:pt idx="12">
                  <c:v>Litva</c:v>
                </c:pt>
                <c:pt idx="13">
                  <c:v>Velká Británie</c:v>
                </c:pt>
                <c:pt idx="14">
                  <c:v>Řecko</c:v>
                </c:pt>
                <c:pt idx="15">
                  <c:v>Polsko</c:v>
                </c:pt>
                <c:pt idx="16">
                  <c:v>Lucembursko</c:v>
                </c:pt>
                <c:pt idx="17">
                  <c:v>Estonsko</c:v>
                </c:pt>
                <c:pt idx="18">
                  <c:v>Lotyšsko</c:v>
                </c:pt>
                <c:pt idx="19">
                  <c:v>Norsko</c:v>
                </c:pt>
                <c:pt idx="20">
                  <c:v>Kypr</c:v>
                </c:pt>
                <c:pt idx="21">
                  <c:v>Island</c:v>
                </c:pt>
                <c:pt idx="22">
                  <c:v>Bulharsko</c:v>
                </c:pt>
                <c:pt idx="23">
                  <c:v>Francie</c:v>
                </c:pt>
                <c:pt idx="24">
                  <c:v>Portugalsko</c:v>
                </c:pt>
                <c:pt idx="25">
                  <c:v>Finsko</c:v>
                </c:pt>
                <c:pt idx="26">
                  <c:v>Itálie</c:v>
                </c:pt>
                <c:pt idx="27">
                  <c:v>Malta</c:v>
                </c:pt>
                <c:pt idx="28">
                  <c:v>Španělsko</c:v>
                </c:pt>
                <c:pt idx="29">
                  <c:v>Švédsko</c:v>
                </c:pt>
                <c:pt idx="30">
                  <c:v>Rumu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533.7709397048998</c:v>
                </c:pt>
                <c:pt idx="1">
                  <c:v>2204.5758817214123</c:v>
                </c:pt>
                <c:pt idx="2">
                  <c:v>2063.62541267301</c:v>
                </c:pt>
                <c:pt idx="3">
                  <c:v>2034.2624207622819</c:v>
                </c:pt>
                <c:pt idx="4">
                  <c:v>1920.148656670194</c:v>
                </c:pt>
                <c:pt idx="5">
                  <c:v>1833.2322611089191</c:v>
                </c:pt>
                <c:pt idx="6">
                  <c:v>1749.8578924072465</c:v>
                </c:pt>
                <c:pt idx="7">
                  <c:v>1588.4026401095077</c:v>
                </c:pt>
                <c:pt idx="8">
                  <c:v>1390.7941900149506</c:v>
                </c:pt>
                <c:pt idx="9">
                  <c:v>1241.8319085334902</c:v>
                </c:pt>
                <c:pt idx="10">
                  <c:v>908.94992634939808</c:v>
                </c:pt>
                <c:pt idx="11">
                  <c:v>894.91816022398677</c:v>
                </c:pt>
                <c:pt idx="12">
                  <c:v>876.92236112652063</c:v>
                </c:pt>
                <c:pt idx="13">
                  <c:v>860.73637850255443</c:v>
                </c:pt>
                <c:pt idx="14">
                  <c:v>856.59787480880141</c:v>
                </c:pt>
                <c:pt idx="15">
                  <c:v>808.64609323038974</c:v>
                </c:pt>
                <c:pt idx="16">
                  <c:v>720.64244507337389</c:v>
                </c:pt>
                <c:pt idx="17">
                  <c:v>696.62657564922165</c:v>
                </c:pt>
                <c:pt idx="18">
                  <c:v>632.86461268297796</c:v>
                </c:pt>
                <c:pt idx="19">
                  <c:v>611.87723331557243</c:v>
                </c:pt>
                <c:pt idx="20">
                  <c:v>582.20392903193112</c:v>
                </c:pt>
                <c:pt idx="21">
                  <c:v>558.31095146292296</c:v>
                </c:pt>
                <c:pt idx="22">
                  <c:v>486.35672220686178</c:v>
                </c:pt>
                <c:pt idx="23">
                  <c:v>471.92361949640804</c:v>
                </c:pt>
                <c:pt idx="24">
                  <c:v>347.99258618156006</c:v>
                </c:pt>
                <c:pt idx="25">
                  <c:v>269.59661136461204</c:v>
                </c:pt>
                <c:pt idx="26">
                  <c:v>216.35778101310953</c:v>
                </c:pt>
                <c:pt idx="27">
                  <c:v>208.91473169518272</c:v>
                </c:pt>
                <c:pt idx="28">
                  <c:v>199.43965063919774</c:v>
                </c:pt>
                <c:pt idx="29">
                  <c:v>184.17657790216089</c:v>
                </c:pt>
                <c:pt idx="30">
                  <c:v>164.69174194537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I$2:$I$48</c:f>
              <c:numCache>
                <c:formatCode>General</c:formatCode>
                <c:ptCount val="47"/>
                <c:pt idx="0">
                  <c:v>3.3760210510968163</c:v>
                </c:pt>
                <c:pt idx="1">
                  <c:v>2.9854787701216061</c:v>
                </c:pt>
                <c:pt idx="2">
                  <c:v>3.2631977254817555</c:v>
                </c:pt>
                <c:pt idx="3">
                  <c:v>2.5775790544363866</c:v>
                </c:pt>
                <c:pt idx="4">
                  <c:v>2.6122939238564054</c:v>
                </c:pt>
                <c:pt idx="5">
                  <c:v>2.4387195767563119</c:v>
                </c:pt>
                <c:pt idx="6">
                  <c:v>1.8485667966159947</c:v>
                </c:pt>
                <c:pt idx="7">
                  <c:v>1.5274542544808216</c:v>
                </c:pt>
                <c:pt idx="8">
                  <c:v>1.5014181024158078</c:v>
                </c:pt>
                <c:pt idx="9">
                  <c:v>1.5014181024158078</c:v>
                </c:pt>
                <c:pt idx="10">
                  <c:v>1.5795265586108498</c:v>
                </c:pt>
                <c:pt idx="11">
                  <c:v>1.6489562974508873</c:v>
                </c:pt>
                <c:pt idx="12">
                  <c:v>2.2304303602362001</c:v>
                </c:pt>
                <c:pt idx="13">
                  <c:v>2.5341854676613633</c:v>
                </c:pt>
                <c:pt idx="14">
                  <c:v>2.3432536858512605</c:v>
                </c:pt>
                <c:pt idx="15">
                  <c:v>2.4473982941113168</c:v>
                </c:pt>
                <c:pt idx="16">
                  <c:v>2.256466512301214</c:v>
                </c:pt>
                <c:pt idx="17">
                  <c:v>2.2477877949462095</c:v>
                </c:pt>
                <c:pt idx="18">
                  <c:v>1.2497352991206723</c:v>
                </c:pt>
                <c:pt idx="19">
                  <c:v>1.128233256150607</c:v>
                </c:pt>
                <c:pt idx="20">
                  <c:v>0.86787173550046692</c:v>
                </c:pt>
                <c:pt idx="21">
                  <c:v>0.74636969253040153</c:v>
                </c:pt>
                <c:pt idx="22">
                  <c:v>0.43393586775023346</c:v>
                </c:pt>
                <c:pt idx="23">
                  <c:v>0.36450612891019607</c:v>
                </c:pt>
                <c:pt idx="24">
                  <c:v>0.24300408594013073</c:v>
                </c:pt>
                <c:pt idx="25">
                  <c:v>0.1909317818101027</c:v>
                </c:pt>
                <c:pt idx="26">
                  <c:v>0.11282332561506069</c:v>
                </c:pt>
                <c:pt idx="27">
                  <c:v>7.8108456195042017E-2</c:v>
                </c:pt>
                <c:pt idx="28">
                  <c:v>0.12150204297006537</c:v>
                </c:pt>
                <c:pt idx="29">
                  <c:v>0.1909317818101027</c:v>
                </c:pt>
                <c:pt idx="30">
                  <c:v>0.22564665123012137</c:v>
                </c:pt>
                <c:pt idx="31">
                  <c:v>0.19961049916510737</c:v>
                </c:pt>
                <c:pt idx="32">
                  <c:v>0.37318484626520076</c:v>
                </c:pt>
                <c:pt idx="33">
                  <c:v>0.30375510742516343</c:v>
                </c:pt>
                <c:pt idx="34">
                  <c:v>0.39922099833021474</c:v>
                </c:pt>
                <c:pt idx="35">
                  <c:v>0.45129330246024274</c:v>
                </c:pt>
                <c:pt idx="36">
                  <c:v>0.3818635636202054</c:v>
                </c:pt>
                <c:pt idx="37">
                  <c:v>0.46865073717025213</c:v>
                </c:pt>
                <c:pt idx="38">
                  <c:v>0.52072304130028013</c:v>
                </c:pt>
                <c:pt idx="39">
                  <c:v>0.56411662807530349</c:v>
                </c:pt>
                <c:pt idx="40">
                  <c:v>0.78976327930542489</c:v>
                </c:pt>
                <c:pt idx="41">
                  <c:v>0.95465890905051365</c:v>
                </c:pt>
                <c:pt idx="42">
                  <c:v>1.3191650379607096</c:v>
                </c:pt>
                <c:pt idx="43">
                  <c:v>1.3799160594457422</c:v>
                </c:pt>
                <c:pt idx="44">
                  <c:v>1.7097073189359198</c:v>
                </c:pt>
                <c:pt idx="45">
                  <c:v>2.2825026643662278</c:v>
                </c:pt>
                <c:pt idx="46">
                  <c:v>2.56022161972637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C$2:$C$48</c:f>
              <c:numCache>
                <c:formatCode>General</c:formatCode>
                <c:ptCount val="47"/>
                <c:pt idx="0">
                  <c:v>11.483140122643302</c:v>
                </c:pt>
                <c:pt idx="1">
                  <c:v>10.88467027911792</c:v>
                </c:pt>
                <c:pt idx="2">
                  <c:v>9.7344860485925722</c:v>
                </c:pt>
                <c:pt idx="3">
                  <c:v>9.1266651137621047</c:v>
                </c:pt>
                <c:pt idx="4">
                  <c:v>8.6030040006773945</c:v>
                </c:pt>
                <c:pt idx="5">
                  <c:v>8.8461323746095797</c:v>
                </c:pt>
                <c:pt idx="6">
                  <c:v>10.202040613846778</c:v>
                </c:pt>
                <c:pt idx="7">
                  <c:v>11.277416113931453</c:v>
                </c:pt>
                <c:pt idx="8">
                  <c:v>13.231794196694034</c:v>
                </c:pt>
                <c:pt idx="9">
                  <c:v>14.447436066354971</c:v>
                </c:pt>
                <c:pt idx="10">
                  <c:v>13.287900744524537</c:v>
                </c:pt>
                <c:pt idx="11">
                  <c:v>11.240011748711115</c:v>
                </c:pt>
                <c:pt idx="12">
                  <c:v>9.6596773181518998</c:v>
                </c:pt>
                <c:pt idx="13">
                  <c:v>7.3967132223215417</c:v>
                </c:pt>
                <c:pt idx="14">
                  <c:v>5.3207709525928655</c:v>
                </c:pt>
                <c:pt idx="15">
                  <c:v>3.9274583481353318</c:v>
                </c:pt>
                <c:pt idx="16">
                  <c:v>3.1232644958980971</c:v>
                </c:pt>
                <c:pt idx="17">
                  <c:v>2.3938793741015356</c:v>
                </c:pt>
                <c:pt idx="18">
                  <c:v>1.5616322479490485</c:v>
                </c:pt>
                <c:pt idx="19">
                  <c:v>0.9912156783389169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5247946523727133</c:v>
                </c:pt>
                <c:pt idx="23">
                  <c:v>0.1215641869660936</c:v>
                </c:pt>
                <c:pt idx="24">
                  <c:v>0.10286200435592535</c:v>
                </c:pt>
                <c:pt idx="25">
                  <c:v>6.5457639135588858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8.4159821745757105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4026636957626185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956078391694585</c:v>
                </c:pt>
                <c:pt idx="41">
                  <c:v>0.80419385223723461</c:v>
                </c:pt>
                <c:pt idx="42">
                  <c:v>1.5335789740337964</c:v>
                </c:pt>
                <c:pt idx="43">
                  <c:v>2.8240295741354053</c:v>
                </c:pt>
                <c:pt idx="44">
                  <c:v>4.2734487264234442</c:v>
                </c:pt>
                <c:pt idx="45">
                  <c:v>6.2932844483216144</c:v>
                </c:pt>
                <c:pt idx="46">
                  <c:v>6.732785739660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D$2:$D$48</c:f>
              <c:numCache>
                <c:formatCode>General</c:formatCode>
                <c:ptCount val="47"/>
                <c:pt idx="0">
                  <c:v>5.1173335510391116</c:v>
                </c:pt>
                <c:pt idx="1">
                  <c:v>5.1292170542055304</c:v>
                </c:pt>
                <c:pt idx="2">
                  <c:v>5.08465391733146</c:v>
                </c:pt>
                <c:pt idx="3">
                  <c:v>4.6984400644228472</c:v>
                </c:pt>
                <c:pt idx="4">
                  <c:v>4.5721778432796469</c:v>
                </c:pt>
                <c:pt idx="5">
                  <c:v>4.3285660283680611</c:v>
                </c:pt>
                <c:pt idx="6">
                  <c:v>3.7655850658589687</c:v>
                </c:pt>
                <c:pt idx="7">
                  <c:v>3.2352837370575283</c:v>
                </c:pt>
                <c:pt idx="8">
                  <c:v>3.0807981958940833</c:v>
                </c:pt>
                <c:pt idx="9">
                  <c:v>2.805992185170648</c:v>
                </c:pt>
                <c:pt idx="10">
                  <c:v>2.7213222251099136</c:v>
                </c:pt>
                <c:pt idx="11">
                  <c:v>2.7777688651504029</c:v>
                </c:pt>
                <c:pt idx="12">
                  <c:v>2.9619631642298949</c:v>
                </c:pt>
                <c:pt idx="13">
                  <c:v>3.1877497243918524</c:v>
                </c:pt>
                <c:pt idx="14">
                  <c:v>2.9530505368550806</c:v>
                </c:pt>
                <c:pt idx="15">
                  <c:v>3.1105069538101304</c:v>
                </c:pt>
                <c:pt idx="16">
                  <c:v>2.957506850542488</c:v>
                </c:pt>
                <c:pt idx="17">
                  <c:v>2.3098559279726616</c:v>
                </c:pt>
                <c:pt idx="18">
                  <c:v>1.8152051086704775</c:v>
                </c:pt>
                <c:pt idx="19">
                  <c:v>1.4349330073450746</c:v>
                </c:pt>
                <c:pt idx="20">
                  <c:v>1.1779522513712672</c:v>
                </c:pt>
                <c:pt idx="21">
                  <c:v>0.888291861689808</c:v>
                </c:pt>
                <c:pt idx="22">
                  <c:v>0.56892271409230177</c:v>
                </c:pt>
                <c:pt idx="23">
                  <c:v>0.48722362982317224</c:v>
                </c:pt>
                <c:pt idx="24">
                  <c:v>0.35947597078416976</c:v>
                </c:pt>
                <c:pt idx="25">
                  <c:v>0.30154389284787797</c:v>
                </c:pt>
                <c:pt idx="26">
                  <c:v>0.24212637701578379</c:v>
                </c:pt>
                <c:pt idx="27">
                  <c:v>0.18122342328788726</c:v>
                </c:pt>
                <c:pt idx="28">
                  <c:v>0.21241761909973669</c:v>
                </c:pt>
                <c:pt idx="29">
                  <c:v>0.42929155188688051</c:v>
                </c:pt>
                <c:pt idx="30">
                  <c:v>0.52138870142662652</c:v>
                </c:pt>
                <c:pt idx="31">
                  <c:v>0.69072862154809478</c:v>
                </c:pt>
                <c:pt idx="32">
                  <c:v>1.2091464471831166</c:v>
                </c:pt>
                <c:pt idx="33">
                  <c:v>1.0932822913105329</c:v>
                </c:pt>
                <c:pt idx="34">
                  <c:v>1.0204958344162174</c:v>
                </c:pt>
                <c:pt idx="35">
                  <c:v>0.90611711643943627</c:v>
                </c:pt>
                <c:pt idx="36">
                  <c:v>0.72489369315154906</c:v>
                </c:pt>
                <c:pt idx="37">
                  <c:v>0.6045732235915583</c:v>
                </c:pt>
                <c:pt idx="38">
                  <c:v>0.48573819192736994</c:v>
                </c:pt>
                <c:pt idx="39">
                  <c:v>0.36690316026318159</c:v>
                </c:pt>
                <c:pt idx="40">
                  <c:v>0.30897108232688975</c:v>
                </c:pt>
                <c:pt idx="41">
                  <c:v>0.30005845495207562</c:v>
                </c:pt>
                <c:pt idx="42">
                  <c:v>0.30600020653528504</c:v>
                </c:pt>
                <c:pt idx="43">
                  <c:v>0.34610702972194862</c:v>
                </c:pt>
                <c:pt idx="44">
                  <c:v>0.36541772236737918</c:v>
                </c:pt>
                <c:pt idx="45">
                  <c:v>0.48425275403156759</c:v>
                </c:pt>
                <c:pt idx="46">
                  <c:v>0.68330143206908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F$2:$F$48</c:f>
              <c:numCache>
                <c:formatCode>General</c:formatCode>
                <c:ptCount val="47"/>
                <c:pt idx="0">
                  <c:v>5.5498279989258483</c:v>
                </c:pt>
                <c:pt idx="1">
                  <c:v>5.4794072206917441</c:v>
                </c:pt>
                <c:pt idx="2">
                  <c:v>5.2580847748131294</c:v>
                </c:pt>
                <c:pt idx="3">
                  <c:v>4.7450191048217976</c:v>
                </c:pt>
                <c:pt idx="4">
                  <c:v>4.3023742130645699</c:v>
                </c:pt>
                <c:pt idx="5">
                  <c:v>3.5596026712143738</c:v>
                </c:pt>
                <c:pt idx="6">
                  <c:v>3.4824751521960686</c:v>
                </c:pt>
                <c:pt idx="7">
                  <c:v>3.4137310591580139</c:v>
                </c:pt>
                <c:pt idx="8">
                  <c:v>3.775895061504837</c:v>
                </c:pt>
                <c:pt idx="9">
                  <c:v>4.1414124342437599</c:v>
                </c:pt>
                <c:pt idx="10">
                  <c:v>4.7534025308020489</c:v>
                </c:pt>
                <c:pt idx="11">
                  <c:v>4.9965218842293133</c:v>
                </c:pt>
                <c:pt idx="12">
                  <c:v>5.1574836630501242</c:v>
                </c:pt>
                <c:pt idx="13">
                  <c:v>4.9110109392307582</c:v>
                </c:pt>
                <c:pt idx="14">
                  <c:v>4.0894351931662065</c:v>
                </c:pt>
                <c:pt idx="15">
                  <c:v>3.651820356997129</c:v>
                </c:pt>
                <c:pt idx="16">
                  <c:v>2.9643794266165862</c:v>
                </c:pt>
                <c:pt idx="17">
                  <c:v>2.4110733119200516</c:v>
                </c:pt>
                <c:pt idx="18">
                  <c:v>1.8980076419287193</c:v>
                </c:pt>
                <c:pt idx="19">
                  <c:v>1.3547616384084851</c:v>
                </c:pt>
                <c:pt idx="20">
                  <c:v>0.95571056174855995</c:v>
                </c:pt>
                <c:pt idx="21">
                  <c:v>0.68408755998844295</c:v>
                </c:pt>
                <c:pt idx="22">
                  <c:v>0.48120865126638024</c:v>
                </c:pt>
                <c:pt idx="23">
                  <c:v>0.35042720597447197</c:v>
                </c:pt>
                <c:pt idx="24">
                  <c:v>0.23305924225096461</c:v>
                </c:pt>
                <c:pt idx="25">
                  <c:v>0.17772863078131115</c:v>
                </c:pt>
                <c:pt idx="26">
                  <c:v>0.13245813048795832</c:v>
                </c:pt>
                <c:pt idx="27">
                  <c:v>0.11066122293930694</c:v>
                </c:pt>
                <c:pt idx="28">
                  <c:v>0.12072133411560758</c:v>
                </c:pt>
                <c:pt idx="29">
                  <c:v>0.15425503803660967</c:v>
                </c:pt>
                <c:pt idx="30">
                  <c:v>0.24144266823121516</c:v>
                </c:pt>
                <c:pt idx="31">
                  <c:v>0.39234433587572459</c:v>
                </c:pt>
                <c:pt idx="32">
                  <c:v>0.52144909597158273</c:v>
                </c:pt>
                <c:pt idx="33">
                  <c:v>0.61702015214643868</c:v>
                </c:pt>
                <c:pt idx="34">
                  <c:v>0.67067407842004212</c:v>
                </c:pt>
                <c:pt idx="35">
                  <c:v>0.6639673376358417</c:v>
                </c:pt>
                <c:pt idx="36">
                  <c:v>0.62372689293063921</c:v>
                </c:pt>
                <c:pt idx="37">
                  <c:v>0.57510302224518606</c:v>
                </c:pt>
                <c:pt idx="38">
                  <c:v>0.47785528087427998</c:v>
                </c:pt>
                <c:pt idx="39">
                  <c:v>0.39066765067967452</c:v>
                </c:pt>
                <c:pt idx="40">
                  <c:v>0.36216400234682272</c:v>
                </c:pt>
                <c:pt idx="41">
                  <c:v>0.38731428028757436</c:v>
                </c:pt>
                <c:pt idx="42">
                  <c:v>0.44599826214932797</c:v>
                </c:pt>
                <c:pt idx="43">
                  <c:v>0.48959207724663073</c:v>
                </c:pt>
                <c:pt idx="44">
                  <c:v>0.59186987420568715</c:v>
                </c:pt>
                <c:pt idx="45">
                  <c:v>0.66061396724374144</c:v>
                </c:pt>
                <c:pt idx="46">
                  <c:v>0.60360667057803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K$2:$K$48</c:f>
              <c:numCache>
                <c:formatCode>General</c:formatCode>
                <c:ptCount val="47"/>
                <c:pt idx="0">
                  <c:v>8.0249543324824568</c:v>
                </c:pt>
                <c:pt idx="1">
                  <c:v>7.1651377968593364</c:v>
                </c:pt>
                <c:pt idx="2">
                  <c:v>6.1313107718839177</c:v>
                </c:pt>
                <c:pt idx="3">
                  <c:v>5.425032903336354</c:v>
                </c:pt>
                <c:pt idx="4">
                  <c:v>5.2100787694305746</c:v>
                </c:pt>
                <c:pt idx="5">
                  <c:v>5.0770119246317575</c:v>
                </c:pt>
                <c:pt idx="6">
                  <c:v>5.5990433926886523</c:v>
                </c:pt>
                <c:pt idx="7">
                  <c:v>7.7997642874383057</c:v>
                </c:pt>
                <c:pt idx="8">
                  <c:v>9.7343514925903261</c:v>
                </c:pt>
                <c:pt idx="9">
                  <c:v>12.764181189547989</c:v>
                </c:pt>
                <c:pt idx="10">
                  <c:v>15.855426353335872</c:v>
                </c:pt>
                <c:pt idx="11">
                  <c:v>19.049030628507463</c:v>
                </c:pt>
                <c:pt idx="12">
                  <c:v>19.223041117859761</c:v>
                </c:pt>
                <c:pt idx="13">
                  <c:v>15.927077731304466</c:v>
                </c:pt>
                <c:pt idx="14">
                  <c:v>12.723237544994507</c:v>
                </c:pt>
                <c:pt idx="15">
                  <c:v>9.550105092099658</c:v>
                </c:pt>
                <c:pt idx="16">
                  <c:v>7.0730145966140023</c:v>
                </c:pt>
                <c:pt idx="17">
                  <c:v>5.2100787694305746</c:v>
                </c:pt>
                <c:pt idx="18">
                  <c:v>3.480209787045963</c:v>
                </c:pt>
                <c:pt idx="19">
                  <c:v>2.2723722727182465</c:v>
                </c:pt>
                <c:pt idx="20">
                  <c:v>1.2283093366044575</c:v>
                </c:pt>
                <c:pt idx="21">
                  <c:v>0.91099609131497261</c:v>
                </c:pt>
                <c:pt idx="22">
                  <c:v>0.52203146805689449</c:v>
                </c:pt>
                <c:pt idx="23">
                  <c:v>0.27636960073600297</c:v>
                </c:pt>
                <c:pt idx="24">
                  <c:v>0.25589777845926204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7.1651377968593361E-2</c:v>
                </c:pt>
                <c:pt idx="28">
                  <c:v>2.0471822276740961E-2</c:v>
                </c:pt>
                <c:pt idx="29">
                  <c:v>5.1179555691852403E-2</c:v>
                </c:pt>
                <c:pt idx="30">
                  <c:v>7.1651377968593361E-2</c:v>
                </c:pt>
                <c:pt idx="31">
                  <c:v>4.0943644553481921E-2</c:v>
                </c:pt>
                <c:pt idx="32">
                  <c:v>0.13306684479881625</c:v>
                </c:pt>
                <c:pt idx="33">
                  <c:v>7.1651377968593361E-2</c:v>
                </c:pt>
                <c:pt idx="34">
                  <c:v>0.14330275593718672</c:v>
                </c:pt>
                <c:pt idx="35">
                  <c:v>0.30707733415111438</c:v>
                </c:pt>
                <c:pt idx="36">
                  <c:v>0.38896462325807823</c:v>
                </c:pt>
                <c:pt idx="37">
                  <c:v>0.44014417894993063</c:v>
                </c:pt>
                <c:pt idx="38">
                  <c:v>0.71651377968593355</c:v>
                </c:pt>
                <c:pt idx="39">
                  <c:v>0.63462649057896969</c:v>
                </c:pt>
                <c:pt idx="40">
                  <c:v>1.1668938697742346</c:v>
                </c:pt>
                <c:pt idx="41">
                  <c:v>1.9550590274287616</c:v>
                </c:pt>
                <c:pt idx="42">
                  <c:v>3.6132766318447791</c:v>
                </c:pt>
                <c:pt idx="43">
                  <c:v>6.0596593939153234</c:v>
                </c:pt>
                <c:pt idx="44">
                  <c:v>8.393447133463793</c:v>
                </c:pt>
                <c:pt idx="45">
                  <c:v>9.7650592260054392</c:v>
                </c:pt>
                <c:pt idx="46">
                  <c:v>11.372097274729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E$2:$E$48</c:f>
              <c:numCache>
                <c:formatCode>General</c:formatCode>
                <c:ptCount val="47"/>
                <c:pt idx="0">
                  <c:v>6.6817599652341668</c:v>
                </c:pt>
                <c:pt idx="1">
                  <c:v>6.1539045351931732</c:v>
                </c:pt>
                <c:pt idx="2">
                  <c:v>5.8316602179927495</c:v>
                </c:pt>
                <c:pt idx="3">
                  <c:v>4.986370087425966</c:v>
                </c:pt>
                <c:pt idx="4">
                  <c:v>4.0689357067396834</c:v>
                </c:pt>
                <c:pt idx="5">
                  <c:v>3.2585152970639899</c:v>
                </c:pt>
                <c:pt idx="6">
                  <c:v>2.4829646082793873</c:v>
                </c:pt>
                <c:pt idx="7">
                  <c:v>2.0621231492489822</c:v>
                </c:pt>
                <c:pt idx="8">
                  <c:v>1.649698519399186</c:v>
                </c:pt>
                <c:pt idx="9">
                  <c:v>1.4945883816422654</c:v>
                </c:pt>
                <c:pt idx="10">
                  <c:v>1.3478950730659529</c:v>
                </c:pt>
                <c:pt idx="11">
                  <c:v>1.460921064919833</c:v>
                </c:pt>
                <c:pt idx="12">
                  <c:v>1.6569129444111357</c:v>
                </c:pt>
                <c:pt idx="13">
                  <c:v>1.8444879947218307</c:v>
                </c:pt>
                <c:pt idx="14">
                  <c:v>1.8264519321919561</c:v>
                </c:pt>
                <c:pt idx="15">
                  <c:v>1.9262514781905948</c:v>
                </c:pt>
                <c:pt idx="16">
                  <c:v>1.9118226281666952</c:v>
                </c:pt>
                <c:pt idx="17">
                  <c:v>1.7122235361694178</c:v>
                </c:pt>
                <c:pt idx="18">
                  <c:v>1.3791575814510688</c:v>
                </c:pt>
                <c:pt idx="19">
                  <c:v>1.1158310685149013</c:v>
                </c:pt>
                <c:pt idx="20">
                  <c:v>0.82845647220556784</c:v>
                </c:pt>
                <c:pt idx="21">
                  <c:v>0.57114198011269202</c:v>
                </c:pt>
                <c:pt idx="22">
                  <c:v>0.34989961307956496</c:v>
                </c:pt>
                <c:pt idx="23">
                  <c:v>0.28256497963470023</c:v>
                </c:pt>
                <c:pt idx="24">
                  <c:v>0.16472937110618693</c:v>
                </c:pt>
                <c:pt idx="25">
                  <c:v>0.1130259918538801</c:v>
                </c:pt>
                <c:pt idx="26">
                  <c:v>7.2144250119497932E-2</c:v>
                </c:pt>
                <c:pt idx="27">
                  <c:v>6.8537037613523033E-2</c:v>
                </c:pt>
                <c:pt idx="28">
                  <c:v>7.0941845950839633E-2</c:v>
                </c:pt>
                <c:pt idx="29">
                  <c:v>5.6512995926940049E-2</c:v>
                </c:pt>
                <c:pt idx="30">
                  <c:v>6.9739441782181333E-2</c:v>
                </c:pt>
                <c:pt idx="31">
                  <c:v>8.7775504312055816E-2</c:v>
                </c:pt>
                <c:pt idx="32">
                  <c:v>0.15270532941960396</c:v>
                </c:pt>
                <c:pt idx="33">
                  <c:v>0.1923846669853278</c:v>
                </c:pt>
                <c:pt idx="34">
                  <c:v>0.32104191303176582</c:v>
                </c:pt>
                <c:pt idx="35">
                  <c:v>0.38717414230797226</c:v>
                </c:pt>
                <c:pt idx="36">
                  <c:v>0.50380734666782723</c:v>
                </c:pt>
                <c:pt idx="37">
                  <c:v>0.48336647580063613</c:v>
                </c:pt>
                <c:pt idx="38">
                  <c:v>0.45691358409015359</c:v>
                </c:pt>
                <c:pt idx="39">
                  <c:v>0.46412800910210333</c:v>
                </c:pt>
                <c:pt idx="40">
                  <c:v>0.50500975083648547</c:v>
                </c:pt>
                <c:pt idx="41">
                  <c:v>0.67094152611133073</c:v>
                </c:pt>
                <c:pt idx="42">
                  <c:v>0.92464880569823182</c:v>
                </c:pt>
                <c:pt idx="43">
                  <c:v>1.2589171645852388</c:v>
                </c:pt>
                <c:pt idx="44">
                  <c:v>1.5595182067498139</c:v>
                </c:pt>
                <c:pt idx="45">
                  <c:v>1.6833658361216184</c:v>
                </c:pt>
                <c:pt idx="46">
                  <c:v>1.359919114752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G$2:$G$48</c:f>
              <c:numCache>
                <c:formatCode>General</c:formatCode>
                <c:ptCount val="47"/>
                <c:pt idx="0">
                  <c:v>3.7340044584013232</c:v>
                </c:pt>
                <c:pt idx="1">
                  <c:v>3.194009967494055</c:v>
                </c:pt>
                <c:pt idx="2">
                  <c:v>3.0618836558890847</c:v>
                </c:pt>
                <c:pt idx="3">
                  <c:v>2.4816768092759567</c:v>
                </c:pt>
                <c:pt idx="4">
                  <c:v>2.3323166309399035</c:v>
                </c:pt>
                <c:pt idx="5">
                  <c:v>2.2633811640155712</c:v>
                </c:pt>
                <c:pt idx="6">
                  <c:v>2.3495504976709864</c:v>
                </c:pt>
                <c:pt idx="7">
                  <c:v>1.5510480057974729</c:v>
                </c:pt>
                <c:pt idx="8">
                  <c:v>1.4189216941925029</c:v>
                </c:pt>
                <c:pt idx="9">
                  <c:v>1.0684997373271479</c:v>
                </c:pt>
                <c:pt idx="10">
                  <c:v>1.0053088926465101</c:v>
                </c:pt>
                <c:pt idx="11">
                  <c:v>0.84445946982306852</c:v>
                </c:pt>
                <c:pt idx="12">
                  <c:v>0.8904164477726233</c:v>
                </c:pt>
                <c:pt idx="13">
                  <c:v>0.77552400289873646</c:v>
                </c:pt>
                <c:pt idx="14">
                  <c:v>0.87318258104154034</c:v>
                </c:pt>
                <c:pt idx="15">
                  <c:v>0.79275786962981942</c:v>
                </c:pt>
                <c:pt idx="16">
                  <c:v>0.80424711411720817</c:v>
                </c:pt>
                <c:pt idx="17">
                  <c:v>0.77552400289873646</c:v>
                </c:pt>
                <c:pt idx="18">
                  <c:v>0.53424986866357393</c:v>
                </c:pt>
                <c:pt idx="19">
                  <c:v>0.49403751295771353</c:v>
                </c:pt>
                <c:pt idx="20">
                  <c:v>0.29297573442841152</c:v>
                </c:pt>
                <c:pt idx="21">
                  <c:v>0.33893271237796624</c:v>
                </c:pt>
                <c:pt idx="22">
                  <c:v>0.12638168936127556</c:v>
                </c:pt>
                <c:pt idx="23">
                  <c:v>6.8935466924332126E-2</c:v>
                </c:pt>
                <c:pt idx="24">
                  <c:v>5.1701600193249098E-2</c:v>
                </c:pt>
                <c:pt idx="25">
                  <c:v>4.0212355705860403E-2</c:v>
                </c:pt>
                <c:pt idx="26">
                  <c:v>6.3190844680637778E-2</c:v>
                </c:pt>
                <c:pt idx="27">
                  <c:v>8.6169333655415153E-2</c:v>
                </c:pt>
                <c:pt idx="28">
                  <c:v>0.16084942282344161</c:v>
                </c:pt>
                <c:pt idx="29">
                  <c:v>0.18957253404191335</c:v>
                </c:pt>
                <c:pt idx="30">
                  <c:v>0.2872311121847172</c:v>
                </c:pt>
                <c:pt idx="31">
                  <c:v>0.24701875647885677</c:v>
                </c:pt>
                <c:pt idx="32">
                  <c:v>0.21255102301669074</c:v>
                </c:pt>
                <c:pt idx="33">
                  <c:v>0.28148648994102282</c:v>
                </c:pt>
                <c:pt idx="34">
                  <c:v>0.22978488974777372</c:v>
                </c:pt>
                <c:pt idx="35">
                  <c:v>0.21829564526038508</c:v>
                </c:pt>
                <c:pt idx="36">
                  <c:v>0.24701875647885677</c:v>
                </c:pt>
                <c:pt idx="37">
                  <c:v>0.12063706711758121</c:v>
                </c:pt>
                <c:pt idx="38">
                  <c:v>0.17233866731083031</c:v>
                </c:pt>
                <c:pt idx="39">
                  <c:v>0.12638168936127556</c:v>
                </c:pt>
                <c:pt idx="40">
                  <c:v>0.26999724545363413</c:v>
                </c:pt>
                <c:pt idx="41">
                  <c:v>0.45956977949554745</c:v>
                </c:pt>
                <c:pt idx="42">
                  <c:v>0.77552400289873646</c:v>
                </c:pt>
                <c:pt idx="43">
                  <c:v>0.92488418123478922</c:v>
                </c:pt>
                <c:pt idx="44">
                  <c:v>1.0972228485456197</c:v>
                </c:pt>
                <c:pt idx="45">
                  <c:v>1.6142388504781107</c:v>
                </c:pt>
                <c:pt idx="46">
                  <c:v>1.6142388504781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J$2:$J$48</c:f>
              <c:numCache>
                <c:formatCode>General</c:formatCode>
                <c:ptCount val="47"/>
                <c:pt idx="0">
                  <c:v>5.4928932499270644</c:v>
                </c:pt>
                <c:pt idx="1">
                  <c:v>5.7378999992043864</c:v>
                </c:pt>
                <c:pt idx="2">
                  <c:v>5.3269209359004916</c:v>
                </c:pt>
                <c:pt idx="3">
                  <c:v>4.8211005502956965</c:v>
                </c:pt>
                <c:pt idx="4">
                  <c:v>5.0608383372229691</c:v>
                </c:pt>
                <c:pt idx="5">
                  <c:v>4.5471145080930997</c:v>
                </c:pt>
                <c:pt idx="6">
                  <c:v>3.6118736909592348</c:v>
                </c:pt>
                <c:pt idx="7">
                  <c:v>4.2415146917902034</c:v>
                </c:pt>
                <c:pt idx="8">
                  <c:v>4.0044113860379555</c:v>
                </c:pt>
                <c:pt idx="9">
                  <c:v>5.0028797513724195</c:v>
                </c:pt>
                <c:pt idx="10">
                  <c:v>5.6483276392535382</c:v>
                </c:pt>
                <c:pt idx="11">
                  <c:v>6.8259407244896995</c:v>
                </c:pt>
                <c:pt idx="12">
                  <c:v>8.1062985755518362</c:v>
                </c:pt>
                <c:pt idx="13">
                  <c:v>9.2180496314123737</c:v>
                </c:pt>
                <c:pt idx="14">
                  <c:v>9.5447252971154697</c:v>
                </c:pt>
                <c:pt idx="15">
                  <c:v>8.9282567021596257</c:v>
                </c:pt>
                <c:pt idx="16">
                  <c:v>7.020892331441547</c:v>
                </c:pt>
                <c:pt idx="17">
                  <c:v>5.160948621873918</c:v>
                </c:pt>
                <c:pt idx="18">
                  <c:v>4.4127559681668265</c:v>
                </c:pt>
                <c:pt idx="19">
                  <c:v>3.3431566111066884</c:v>
                </c:pt>
                <c:pt idx="20">
                  <c:v>2.1497366388203765</c:v>
                </c:pt>
                <c:pt idx="21">
                  <c:v>1.1012131311604378</c:v>
                </c:pt>
                <c:pt idx="22">
                  <c:v>1.1196544993856126</c:v>
                </c:pt>
                <c:pt idx="23">
                  <c:v>0.67706166198141748</c:v>
                </c:pt>
                <c:pt idx="24">
                  <c:v>0.40307561977882056</c:v>
                </c:pt>
                <c:pt idx="25">
                  <c:v>0.2792550045526469</c:v>
                </c:pt>
                <c:pt idx="26">
                  <c:v>0.20812401282697271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795858585054936E-2</c:v>
                </c:pt>
                <c:pt idx="30">
                  <c:v>6.8496510550649245E-2</c:v>
                </c:pt>
                <c:pt idx="31">
                  <c:v>4.478617997542450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9.7475803475923925E-2</c:v>
                </c:pt>
                <c:pt idx="35">
                  <c:v>0.12118613405114867</c:v>
                </c:pt>
                <c:pt idx="36">
                  <c:v>0.16333783285154821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5839972445434496</c:v>
                </c:pt>
                <c:pt idx="40">
                  <c:v>0.64808236905614292</c:v>
                </c:pt>
                <c:pt idx="41">
                  <c:v>0.87464775010829032</c:v>
                </c:pt>
                <c:pt idx="42">
                  <c:v>1.4911163450641336</c:v>
                </c:pt>
                <c:pt idx="43">
                  <c:v>1.973226400093703</c:v>
                </c:pt>
                <c:pt idx="44">
                  <c:v>2.9453499536779173</c:v>
                </c:pt>
                <c:pt idx="45">
                  <c:v>5.1978313583242679</c:v>
                </c:pt>
                <c:pt idx="46">
                  <c:v>5.8643550956055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B$2:$B$48</c:f>
              <c:numCache>
                <c:formatCode>General</c:formatCode>
                <c:ptCount val="47"/>
                <c:pt idx="0">
                  <c:v>3.8759411234432202</c:v>
                </c:pt>
                <c:pt idx="1">
                  <c:v>3.9995218549153226</c:v>
                </c:pt>
                <c:pt idx="2">
                  <c:v>3.347914361698781</c:v>
                </c:pt>
                <c:pt idx="3">
                  <c:v>3.2243336302266785</c:v>
                </c:pt>
                <c:pt idx="4">
                  <c:v>2.4491454055380344</c:v>
                </c:pt>
                <c:pt idx="5">
                  <c:v>2.0559339872177076</c:v>
                </c:pt>
                <c:pt idx="6">
                  <c:v>1.6964264047534094</c:v>
                </c:pt>
                <c:pt idx="7">
                  <c:v>1.651487956945372</c:v>
                </c:pt>
                <c:pt idx="8">
                  <c:v>1.4829687776652321</c:v>
                </c:pt>
                <c:pt idx="9">
                  <c:v>1.7863033003694837</c:v>
                </c:pt>
                <c:pt idx="10">
                  <c:v>2.0334647633136891</c:v>
                </c:pt>
                <c:pt idx="11">
                  <c:v>1.9997609274576613</c:v>
                </c:pt>
                <c:pt idx="12">
                  <c:v>2.3929723457779879</c:v>
                </c:pt>
                <c:pt idx="13">
                  <c:v>2.3255646740659319</c:v>
                </c:pt>
                <c:pt idx="14">
                  <c:v>2.224453166497848</c:v>
                </c:pt>
                <c:pt idx="15">
                  <c:v>1.7750686884174747</c:v>
                </c:pt>
                <c:pt idx="16">
                  <c:v>1.7638340764654652</c:v>
                </c:pt>
                <c:pt idx="17">
                  <c:v>1.2470419266730359</c:v>
                </c:pt>
                <c:pt idx="18">
                  <c:v>0.92123818006476521</c:v>
                </c:pt>
                <c:pt idx="19">
                  <c:v>0.61790365736051334</c:v>
                </c:pt>
                <c:pt idx="20">
                  <c:v>0.50555753784042001</c:v>
                </c:pt>
                <c:pt idx="21">
                  <c:v>0.34827297051228934</c:v>
                </c:pt>
                <c:pt idx="22">
                  <c:v>0.24716146294420532</c:v>
                </c:pt>
                <c:pt idx="23">
                  <c:v>0.16851917928013999</c:v>
                </c:pt>
                <c:pt idx="24">
                  <c:v>0.12358073147210266</c:v>
                </c:pt>
                <c:pt idx="25">
                  <c:v>0.11234611952009332</c:v>
                </c:pt>
                <c:pt idx="26">
                  <c:v>2.2469223904018665E-2</c:v>
                </c:pt>
                <c:pt idx="27">
                  <c:v>4.4938447808037331E-2</c:v>
                </c:pt>
                <c:pt idx="28">
                  <c:v>4.4938447808037331E-2</c:v>
                </c:pt>
                <c:pt idx="29">
                  <c:v>4.4938447808037331E-2</c:v>
                </c:pt>
                <c:pt idx="30">
                  <c:v>7.8642283664065324E-2</c:v>
                </c:pt>
                <c:pt idx="31">
                  <c:v>8.9876895616074662E-2</c:v>
                </c:pt>
                <c:pt idx="32">
                  <c:v>7.8642283664065324E-2</c:v>
                </c:pt>
                <c:pt idx="33">
                  <c:v>0.29209991075224268</c:v>
                </c:pt>
                <c:pt idx="34">
                  <c:v>0.41568064222434531</c:v>
                </c:pt>
                <c:pt idx="35">
                  <c:v>0.42691525417635462</c:v>
                </c:pt>
                <c:pt idx="36">
                  <c:v>0.69654594102457867</c:v>
                </c:pt>
                <c:pt idx="37">
                  <c:v>0.75271900078462528</c:v>
                </c:pt>
                <c:pt idx="38">
                  <c:v>0.62913826931252259</c:v>
                </c:pt>
                <c:pt idx="39">
                  <c:v>0.65160749321654132</c:v>
                </c:pt>
                <c:pt idx="40">
                  <c:v>0.86506512030471872</c:v>
                </c:pt>
                <c:pt idx="41">
                  <c:v>0.79765744859266263</c:v>
                </c:pt>
                <c:pt idx="42">
                  <c:v>0.89876895616074659</c:v>
                </c:pt>
                <c:pt idx="43">
                  <c:v>1.4942033896172413</c:v>
                </c:pt>
                <c:pt idx="44">
                  <c:v>2.5951953609141558</c:v>
                </c:pt>
                <c:pt idx="45">
                  <c:v>2.9097644955704172</c:v>
                </c:pt>
                <c:pt idx="46">
                  <c:v>2.9097644955704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L$2:$L$48</c:f>
              <c:numCache>
                <c:formatCode>General</c:formatCode>
                <c:ptCount val="47"/>
                <c:pt idx="0">
                  <c:v>11.121548632590022</c:v>
                </c:pt>
                <c:pt idx="1">
                  <c:v>11.176515100296397</c:v>
                </c:pt>
                <c:pt idx="2">
                  <c:v>11.3963809711219</c:v>
                </c:pt>
                <c:pt idx="3">
                  <c:v>11.616246841947403</c:v>
                </c:pt>
                <c:pt idx="4">
                  <c:v>11.946045648185658</c:v>
                </c:pt>
                <c:pt idx="5">
                  <c:v>12.459066013445165</c:v>
                </c:pt>
                <c:pt idx="6">
                  <c:v>12.440743857543039</c:v>
                </c:pt>
                <c:pt idx="7">
                  <c:v>12.110945051304784</c:v>
                </c:pt>
                <c:pt idx="8">
                  <c:v>12.055978583598408</c:v>
                </c:pt>
                <c:pt idx="9">
                  <c:v>11.597924686045278</c:v>
                </c:pt>
                <c:pt idx="10">
                  <c:v>9.380943821888124</c:v>
                </c:pt>
                <c:pt idx="11">
                  <c:v>8.7030240535094894</c:v>
                </c:pt>
                <c:pt idx="12">
                  <c:v>7.4021509844585971</c:v>
                </c:pt>
                <c:pt idx="13">
                  <c:v>5.4600024588333218</c:v>
                </c:pt>
                <c:pt idx="14">
                  <c:v>5.0935593407908168</c:v>
                </c:pt>
                <c:pt idx="15">
                  <c:v>4.0675186102718035</c:v>
                </c:pt>
                <c:pt idx="16">
                  <c:v>3.2063772828719173</c:v>
                </c:pt>
                <c:pt idx="17">
                  <c:v>1.7772491225061484</c:v>
                </c:pt>
                <c:pt idx="18">
                  <c:v>1.8322155902125243</c:v>
                </c:pt>
                <c:pt idx="19">
                  <c:v>0.9527521069105126</c:v>
                </c:pt>
                <c:pt idx="20">
                  <c:v>0.87946348330201152</c:v>
                </c:pt>
                <c:pt idx="21">
                  <c:v>0.60463114477013291</c:v>
                </c:pt>
                <c:pt idx="22">
                  <c:v>0.34812096214037963</c:v>
                </c:pt>
                <c:pt idx="23">
                  <c:v>0.25651018262975339</c:v>
                </c:pt>
                <c:pt idx="24">
                  <c:v>0.31147665033612915</c:v>
                </c:pt>
                <c:pt idx="25">
                  <c:v>0.20154371492337766</c:v>
                </c:pt>
                <c:pt idx="26" formatCode="0.00000">
                  <c:v>5.496646770637572E-2</c:v>
                </c:pt>
                <c:pt idx="27">
                  <c:v>3.6644311804250485E-2</c:v>
                </c:pt>
                <c:pt idx="28">
                  <c:v>7.3288623608500969E-2</c:v>
                </c:pt>
                <c:pt idx="29">
                  <c:v>0.18322155902125242</c:v>
                </c:pt>
                <c:pt idx="30">
                  <c:v>7.3288623608500969E-2</c:v>
                </c:pt>
                <c:pt idx="31">
                  <c:v>3.6644311804250485E-2</c:v>
                </c:pt>
                <c:pt idx="32">
                  <c:v>7.3288623608500969E-2</c:v>
                </c:pt>
                <c:pt idx="33">
                  <c:v>7.3288623608500969E-2</c:v>
                </c:pt>
                <c:pt idx="34">
                  <c:v>0.1282550913148767</c:v>
                </c:pt>
                <c:pt idx="35">
                  <c:v>0.49469820935738151</c:v>
                </c:pt>
                <c:pt idx="36">
                  <c:v>0.64127545657438345</c:v>
                </c:pt>
                <c:pt idx="37">
                  <c:v>1.0810071982253893</c:v>
                </c:pt>
                <c:pt idx="38">
                  <c:v>1.4657724721700194</c:v>
                </c:pt>
                <c:pt idx="39">
                  <c:v>1.8322155902125243</c:v>
                </c:pt>
                <c:pt idx="40">
                  <c:v>2.1986587082550293</c:v>
                </c:pt>
                <c:pt idx="41">
                  <c:v>2.3269137995699056</c:v>
                </c:pt>
                <c:pt idx="42">
                  <c:v>3.5544982450122968</c:v>
                </c:pt>
                <c:pt idx="43">
                  <c:v>4.0675186102718035</c:v>
                </c:pt>
                <c:pt idx="44">
                  <c:v>4.9836264053780663</c:v>
                </c:pt>
                <c:pt idx="45">
                  <c:v>3.4262431536974205</c:v>
                </c:pt>
                <c:pt idx="46">
                  <c:v>0.97107426281263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8</c:f>
              <c:numCache>
                <c:formatCode>General</c:formatCode>
                <c:ptCount val="47"/>
                <c:pt idx="0">
                  <c:v>3.3106136922841403</c:v>
                </c:pt>
                <c:pt idx="1">
                  <c:v>4.871905025148199</c:v>
                </c:pt>
                <c:pt idx="2">
                  <c:v>7.1641933826008426</c:v>
                </c:pt>
                <c:pt idx="3">
                  <c:v>7.9966003990398669</c:v>
                </c:pt>
                <c:pt idx="4">
                  <c:v>6.8578506988859731</c:v>
                </c:pt>
                <c:pt idx="5">
                  <c:v>5.1381062537556028</c:v>
                </c:pt>
                <c:pt idx="6">
                  <c:v>3.5387861739476296</c:v>
                </c:pt>
                <c:pt idx="7">
                  <c:v>2.7613095697609262</c:v>
                </c:pt>
                <c:pt idx="8">
                  <c:v>1.9415788023032068</c:v>
                </c:pt>
                <c:pt idx="9">
                  <c:v>1.4894592553033306</c:v>
                </c:pt>
                <c:pt idx="10">
                  <c:v>1.2232580266959268</c:v>
                </c:pt>
                <c:pt idx="11">
                  <c:v>1.0711430389202674</c:v>
                </c:pt>
                <c:pt idx="12">
                  <c:v>1.1155099103548347</c:v>
                </c:pt>
                <c:pt idx="13">
                  <c:v>1.1662149062800546</c:v>
                </c:pt>
                <c:pt idx="14">
                  <c:v>1.1704403226071562</c:v>
                </c:pt>
                <c:pt idx="15">
                  <c:v>1.0901574123922251</c:v>
                </c:pt>
                <c:pt idx="16">
                  <c:v>0.90846451032685416</c:v>
                </c:pt>
                <c:pt idx="17">
                  <c:v>0.9295915919623623</c:v>
                </c:pt>
                <c:pt idx="18">
                  <c:v>0.71409535928017842</c:v>
                </c:pt>
                <c:pt idx="19">
                  <c:v>0.54930412252321414</c:v>
                </c:pt>
                <c:pt idx="20">
                  <c:v>0.38451288576624992</c:v>
                </c:pt>
                <c:pt idx="21">
                  <c:v>0.43310517352791877</c:v>
                </c:pt>
                <c:pt idx="22">
                  <c:v>0.29577914289711532</c:v>
                </c:pt>
                <c:pt idx="23">
                  <c:v>0.25141227146254796</c:v>
                </c:pt>
                <c:pt idx="24">
                  <c:v>0.23662331431769223</c:v>
                </c:pt>
                <c:pt idx="25">
                  <c:v>0.18169290206537081</c:v>
                </c:pt>
                <c:pt idx="26">
                  <c:v>0.17958019390182001</c:v>
                </c:pt>
                <c:pt idx="27">
                  <c:v>0.31479351636907271</c:v>
                </c:pt>
                <c:pt idx="28">
                  <c:v>0.72043348377083083</c:v>
                </c:pt>
                <c:pt idx="29">
                  <c:v>1.0648049144296152</c:v>
                </c:pt>
                <c:pt idx="30">
                  <c:v>1.3098790614015108</c:v>
                </c:pt>
                <c:pt idx="31">
                  <c:v>1.5507277920463043</c:v>
                </c:pt>
                <c:pt idx="32">
                  <c:v>1.4091763450883994</c:v>
                </c:pt>
                <c:pt idx="33">
                  <c:v>1.2295961511865794</c:v>
                </c:pt>
                <c:pt idx="34">
                  <c:v>1.0669176225931658</c:v>
                </c:pt>
                <c:pt idx="35">
                  <c:v>0.82184347562127025</c:v>
                </c:pt>
                <c:pt idx="36">
                  <c:v>0.69930640213532258</c:v>
                </c:pt>
                <c:pt idx="37">
                  <c:v>0.48169746128958774</c:v>
                </c:pt>
                <c:pt idx="38">
                  <c:v>0.36761122045784328</c:v>
                </c:pt>
                <c:pt idx="39">
                  <c:v>0.2852156020793612</c:v>
                </c:pt>
                <c:pt idx="40">
                  <c:v>0.24084873064479387</c:v>
                </c:pt>
                <c:pt idx="41">
                  <c:v>0.24718685513544633</c:v>
                </c:pt>
                <c:pt idx="42">
                  <c:v>0.21127081635508235</c:v>
                </c:pt>
                <c:pt idx="43">
                  <c:v>0.17746748573826918</c:v>
                </c:pt>
                <c:pt idx="44">
                  <c:v>0.2852156020793612</c:v>
                </c:pt>
                <c:pt idx="45">
                  <c:v>0.26197581228030214</c:v>
                </c:pt>
                <c:pt idx="46">
                  <c:v>0.19014373471957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H$2:$H$48</c:f>
              <c:numCache>
                <c:formatCode>General</c:formatCode>
                <c:ptCount val="47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  <c:pt idx="41">
                  <c:v>1.3943607262330222</c:v>
                </c:pt>
                <c:pt idx="42">
                  <c:v>1.6147549400738583</c:v>
                </c:pt>
                <c:pt idx="43">
                  <c:v>1.7234827522353373</c:v>
                </c:pt>
                <c:pt idx="44">
                  <c:v>1.6059391715202247</c:v>
                </c:pt>
                <c:pt idx="45">
                  <c:v>1.5119043069481348</c:v>
                </c:pt>
                <c:pt idx="46">
                  <c:v>1.2459619555801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2</c:f>
              <c:strCache>
                <c:ptCount val="31"/>
                <c:pt idx="0">
                  <c:v>Bulharsko</c:v>
                </c:pt>
                <c:pt idx="1">
                  <c:v>Rumunsko</c:v>
                </c:pt>
                <c:pt idx="2">
                  <c:v>Maďarsko</c:v>
                </c:pt>
                <c:pt idx="3">
                  <c:v>Itálie</c:v>
                </c:pt>
                <c:pt idx="4">
                  <c:v>Polsko</c:v>
                </c:pt>
                <c:pt idx="5">
                  <c:v>Řecko</c:v>
                </c:pt>
                <c:pt idx="6">
                  <c:v>Chorvatsko</c:v>
                </c:pt>
                <c:pt idx="7">
                  <c:v>Lotyšsko</c:v>
                </c:pt>
                <c:pt idx="8">
                  <c:v>Německo</c:v>
                </c:pt>
                <c:pt idx="9">
                  <c:v>Španělsko</c:v>
                </c:pt>
                <c:pt idx="10">
                  <c:v>Francie</c:v>
                </c:pt>
                <c:pt idx="11">
                  <c:v>Portugalsko</c:v>
                </c:pt>
                <c:pt idx="12">
                  <c:v>Česká republika</c:v>
                </c:pt>
                <c:pt idx="13">
                  <c:v>Belgie</c:v>
                </c:pt>
                <c:pt idx="14">
                  <c:v>Litva</c:v>
                </c:pt>
                <c:pt idx="15">
                  <c:v>Velká Británie</c:v>
                </c:pt>
                <c:pt idx="16">
                  <c:v>Lichtenštejnsko</c:v>
                </c:pt>
                <c:pt idx="17">
                  <c:v>Slovinsko</c:v>
                </c:pt>
                <c:pt idx="18">
                  <c:v>Slovensko</c:v>
                </c:pt>
                <c:pt idx="19">
                  <c:v>Švédsko</c:v>
                </c:pt>
                <c:pt idx="20">
                  <c:v>Malta</c:v>
                </c:pt>
                <c:pt idx="21">
                  <c:v>Rakousko</c:v>
                </c:pt>
                <c:pt idx="22">
                  <c:v>Lucembursko</c:v>
                </c:pt>
                <c:pt idx="23">
                  <c:v>Finsko</c:v>
                </c:pt>
                <c:pt idx="24">
                  <c:v>Irsko</c:v>
                </c:pt>
                <c:pt idx="25">
                  <c:v>Estonsko</c:v>
                </c:pt>
                <c:pt idx="26">
                  <c:v>Nizozemsko</c:v>
                </c:pt>
                <c:pt idx="27">
                  <c:v>Dánsko</c:v>
                </c:pt>
                <c:pt idx="28">
                  <c:v>Kypr</c:v>
                </c:pt>
                <c:pt idx="29">
                  <c:v>Nor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4.0723002840430539E-2</c:v>
                </c:pt>
                <c:pt idx="1">
                  <c:v>3.1376910044884888E-2</c:v>
                </c:pt>
                <c:pt idx="2">
                  <c:v>3.0302726388335512E-2</c:v>
                </c:pt>
                <c:pt idx="3">
                  <c:v>2.6814930784903945E-2</c:v>
                </c:pt>
                <c:pt idx="4">
                  <c:v>2.3880971352282551E-2</c:v>
                </c:pt>
                <c:pt idx="5" formatCode="0.0000000">
                  <c:v>1.943562515160499E-2</c:v>
                </c:pt>
                <c:pt idx="6">
                  <c:v>1.7913549666003139E-2</c:v>
                </c:pt>
                <c:pt idx="7">
                  <c:v>1.7701288771091592E-2</c:v>
                </c:pt>
                <c:pt idx="8">
                  <c:v>1.7387093903964035E-2</c:v>
                </c:pt>
                <c:pt idx="9">
                  <c:v>1.7075405362614437E-2</c:v>
                </c:pt>
                <c:pt idx="10">
                  <c:v>1.6194681369245508E-2</c:v>
                </c:pt>
                <c:pt idx="11">
                  <c:v>1.6102858351298707E-2</c:v>
                </c:pt>
                <c:pt idx="12">
                  <c:v>1.5446592084190188E-2</c:v>
                </c:pt>
                <c:pt idx="13">
                  <c:v>1.5371907704708424E-2</c:v>
                </c:pt>
                <c:pt idx="14">
                  <c:v>1.4411997084771432E-2</c:v>
                </c:pt>
                <c:pt idx="15">
                  <c:v>1.4267883391158791E-2</c:v>
                </c:pt>
                <c:pt idx="16">
                  <c:v>1.3359614542268944E-2</c:v>
                </c:pt>
                <c:pt idx="17">
                  <c:v>1.3240506389619825E-2</c:v>
                </c:pt>
                <c:pt idx="18">
                  <c:v>1.2773255317662944E-2</c:v>
                </c:pt>
                <c:pt idx="19">
                  <c:v>1.2590022232842271E-2</c:v>
                </c:pt>
                <c:pt idx="20">
                  <c:v>1.2104596125494659E-2</c:v>
                </c:pt>
                <c:pt idx="21">
                  <c:v>1.0419761562676709E-2</c:v>
                </c:pt>
                <c:pt idx="22">
                  <c:v>1.00639836693482E-2</c:v>
                </c:pt>
                <c:pt idx="23">
                  <c:v>9.6198468031207171E-3</c:v>
                </c:pt>
                <c:pt idx="24">
                  <c:v>9.4413136726373692E-3</c:v>
                </c:pt>
                <c:pt idx="25">
                  <c:v>7.9725265563101947E-3</c:v>
                </c:pt>
                <c:pt idx="26">
                  <c:v>7.4635105081965513E-3</c:v>
                </c:pt>
                <c:pt idx="27">
                  <c:v>6.0669574934185191E-3</c:v>
                </c:pt>
                <c:pt idx="28">
                  <c:v>5.3741842079331748E-3</c:v>
                </c:pt>
                <c:pt idx="29">
                  <c:v>5.0164739939436648E-3</c:v>
                </c:pt>
                <c:pt idx="30">
                  <c:v>1.970055161544523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Island</c:v>
                </c:pt>
                <c:pt idx="4">
                  <c:v>Norsko</c:v>
                </c:pt>
                <c:pt idx="5">
                  <c:v>Španělsko</c:v>
                </c:pt>
                <c:pt idx="6">
                  <c:v>Francie</c:v>
                </c:pt>
                <c:pt idx="7">
                  <c:v>Dánsko</c:v>
                </c:pt>
                <c:pt idx="8">
                  <c:v>Finsko</c:v>
                </c:pt>
                <c:pt idx="9">
                  <c:v>Nizozemsko</c:v>
                </c:pt>
                <c:pt idx="10">
                  <c:v>Belgie</c:v>
                </c:pt>
                <c:pt idx="11">
                  <c:v>Itálie</c:v>
                </c:pt>
                <c:pt idx="12">
                  <c:v>Švédsko</c:v>
                </c:pt>
                <c:pt idx="13">
                  <c:v>Němec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Litva</c:v>
                </c:pt>
                <c:pt idx="18">
                  <c:v>Lichtenštejnsko</c:v>
                </c:pt>
                <c:pt idx="19">
                  <c:v>Řec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9399999999999999</c:v>
                </c:pt>
                <c:pt idx="1">
                  <c:v>0.94299999999999995</c:v>
                </c:pt>
                <c:pt idx="2">
                  <c:v>0.93300000000000005</c:v>
                </c:pt>
                <c:pt idx="3">
                  <c:v>0.92600000000000005</c:v>
                </c:pt>
                <c:pt idx="4">
                  <c:v>0.92300000000000004</c:v>
                </c:pt>
                <c:pt idx="5">
                  <c:v>0.91700000000000004</c:v>
                </c:pt>
                <c:pt idx="6">
                  <c:v>0.90900000000000003</c:v>
                </c:pt>
                <c:pt idx="7">
                  <c:v>0.90400000000000003</c:v>
                </c:pt>
                <c:pt idx="8">
                  <c:v>0.89</c:v>
                </c:pt>
                <c:pt idx="9">
                  <c:v>0.88700000000000001</c:v>
                </c:pt>
                <c:pt idx="10">
                  <c:v>0.88500000000000001</c:v>
                </c:pt>
                <c:pt idx="11">
                  <c:v>0.88400000000000001</c:v>
                </c:pt>
                <c:pt idx="12">
                  <c:v>0.86399999999999999</c:v>
                </c:pt>
                <c:pt idx="13">
                  <c:v>0.85199999999999998</c:v>
                </c:pt>
                <c:pt idx="14">
                  <c:v>0.83399999999999996</c:v>
                </c:pt>
                <c:pt idx="15">
                  <c:v>0.81499999999999995</c:v>
                </c:pt>
                <c:pt idx="16">
                  <c:v>0.79900000000000004</c:v>
                </c:pt>
                <c:pt idx="17">
                  <c:v>0.78200000000000003</c:v>
                </c:pt>
                <c:pt idx="18">
                  <c:v>0.77500000000000002</c:v>
                </c:pt>
                <c:pt idx="19">
                  <c:v>0.75800000000000001</c:v>
                </c:pt>
                <c:pt idx="20">
                  <c:v>0.747</c:v>
                </c:pt>
                <c:pt idx="21">
                  <c:v>0.72599999999999998</c:v>
                </c:pt>
                <c:pt idx="22">
                  <c:v>0.72499999999999998</c:v>
                </c:pt>
                <c:pt idx="23">
                  <c:v>0.71299999999999997</c:v>
                </c:pt>
                <c:pt idx="24">
                  <c:v>0.68700000000000006</c:v>
                </c:pt>
                <c:pt idx="25">
                  <c:v>0.63800000000000001</c:v>
                </c:pt>
                <c:pt idx="26">
                  <c:v>0.627</c:v>
                </c:pt>
                <c:pt idx="27">
                  <c:v>0.57699999999999996</c:v>
                </c:pt>
                <c:pt idx="28">
                  <c:v>0.48</c:v>
                </c:pt>
                <c:pt idx="29">
                  <c:v>0.32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Portugalsko</c:v>
                </c:pt>
                <c:pt idx="2">
                  <c:v>Malta</c:v>
                </c:pt>
                <c:pt idx="3">
                  <c:v>Island</c:v>
                </c:pt>
                <c:pt idx="4">
                  <c:v>Dánsko</c:v>
                </c:pt>
                <c:pt idx="5">
                  <c:v>Norsko</c:v>
                </c:pt>
                <c:pt idx="6">
                  <c:v>Belgie</c:v>
                </c:pt>
                <c:pt idx="7">
                  <c:v>Španělsko</c:v>
                </c:pt>
                <c:pt idx="8">
                  <c:v>Finsko</c:v>
                </c:pt>
                <c:pt idx="9">
                  <c:v>Švédsko</c:v>
                </c:pt>
                <c:pt idx="10">
                  <c:v>Francie</c:v>
                </c:pt>
                <c:pt idx="11">
                  <c:v>Itálie</c:v>
                </c:pt>
                <c:pt idx="12">
                  <c:v>Německo</c:v>
                </c:pt>
                <c:pt idx="13">
                  <c:v>Nizozems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Řecko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Maďarsko</c:v>
                </c:pt>
                <c:pt idx="23">
                  <c:v>Eston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3</c:v>
                </c:pt>
                <c:pt idx="1">
                  <c:v>0.92100000000000004</c:v>
                </c:pt>
                <c:pt idx="2">
                  <c:v>0.92100000000000004</c:v>
                </c:pt>
                <c:pt idx="3">
                  <c:v>0.91600000000000004</c:v>
                </c:pt>
                <c:pt idx="4">
                  <c:v>0.88700000000000001</c:v>
                </c:pt>
                <c:pt idx="5">
                  <c:v>0.88300000000000001</c:v>
                </c:pt>
                <c:pt idx="6">
                  <c:v>0.873</c:v>
                </c:pt>
                <c:pt idx="7">
                  <c:v>0.84499999999999997</c:v>
                </c:pt>
                <c:pt idx="8">
                  <c:v>0.84199999999999997</c:v>
                </c:pt>
                <c:pt idx="9">
                  <c:v>0.83399999999999996</c:v>
                </c:pt>
                <c:pt idx="10">
                  <c:v>0.82699999999999996</c:v>
                </c:pt>
                <c:pt idx="11">
                  <c:v>0.82599999999999996</c:v>
                </c:pt>
                <c:pt idx="12">
                  <c:v>0.81899999999999995</c:v>
                </c:pt>
                <c:pt idx="13">
                  <c:v>0.80900000000000005</c:v>
                </c:pt>
                <c:pt idx="14">
                  <c:v>0.80800000000000005</c:v>
                </c:pt>
                <c:pt idx="15">
                  <c:v>0.77200000000000002</c:v>
                </c:pt>
                <c:pt idx="16">
                  <c:v>0.75700000000000001</c:v>
                </c:pt>
                <c:pt idx="17">
                  <c:v>0.74399999999999999</c:v>
                </c:pt>
                <c:pt idx="18">
                  <c:v>0.72499999999999998</c:v>
                </c:pt>
                <c:pt idx="19">
                  <c:v>0.72</c:v>
                </c:pt>
                <c:pt idx="20">
                  <c:v>0.69799999999999995</c:v>
                </c:pt>
                <c:pt idx="21">
                  <c:v>0.69799999999999995</c:v>
                </c:pt>
                <c:pt idx="22">
                  <c:v>0.68300000000000005</c:v>
                </c:pt>
                <c:pt idx="23">
                  <c:v>0.67900000000000005</c:v>
                </c:pt>
                <c:pt idx="24">
                  <c:v>0.64700000000000002</c:v>
                </c:pt>
                <c:pt idx="25">
                  <c:v>0.627</c:v>
                </c:pt>
                <c:pt idx="26">
                  <c:v>0.56100000000000005</c:v>
                </c:pt>
                <c:pt idx="27">
                  <c:v>0.55100000000000005</c:v>
                </c:pt>
                <c:pt idx="28">
                  <c:v>0.46</c:v>
                </c:pt>
                <c:pt idx="29">
                  <c:v>0.30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649603554792684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8500000000000001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39534176716966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81499999999999995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757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32300000000000001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03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294595234922393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627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56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3399999999999996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08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698377898256978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72599999999999998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697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90400000000000003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887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2819031737848511E-2"/>
                  <c:y val="2.099867724867724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72499999999999998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679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9274326297051E-2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89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41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90900000000000003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7486420437795273E-2"/>
                  <c:y val="1.4664168136390316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5199999999999998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18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866235507646393E-2"/>
                  <c:y val="-1.866549088771315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75800000000000001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24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04601087575247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71299999999999997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83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101599896128242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600000000000005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6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584699489494617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4299999999999995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8.0911051121455892E-3"/>
                  <c:y val="2.7333370076425632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8400000000000001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25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747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697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3975323352821563E-3"/>
                  <c:y val="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7500000000000002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4876149104388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78200000000000003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43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79900000000000004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72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72442147993319E-2"/>
                  <c:y val="-2.632991622574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3300000000000005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21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703166970568746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8700000000000001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09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83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3800000000000001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2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993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21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48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7699999999999996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5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8700000000000006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4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1700000000000004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44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63837130234748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6399999999999999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33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I$2:$I$48</c:f>
              <c:numCache>
                <c:formatCode>General</c:formatCode>
                <c:ptCount val="47"/>
                <c:pt idx="0">
                  <c:v>228.73627460850309</c:v>
                </c:pt>
                <c:pt idx="1">
                  <c:v>252.5767111827009</c:v>
                </c:pt>
                <c:pt idx="2">
                  <c:v>256.95078472962325</c:v>
                </c:pt>
                <c:pt idx="3">
                  <c:v>281.38137408396136</c:v>
                </c:pt>
                <c:pt idx="4">
                  <c:v>280.97347436827613</c:v>
                </c:pt>
                <c:pt idx="5">
                  <c:v>245.68580960282719</c:v>
                </c:pt>
                <c:pt idx="6">
                  <c:v>248.15056533164849</c:v>
                </c:pt>
                <c:pt idx="7">
                  <c:v>283.06504525083233</c:v>
                </c:pt>
                <c:pt idx="8">
                  <c:v>292.09091130003713</c:v>
                </c:pt>
                <c:pt idx="9">
                  <c:v>332.00433241570363</c:v>
                </c:pt>
                <c:pt idx="10">
                  <c:v>444.08128833823395</c:v>
                </c:pt>
                <c:pt idx="11">
                  <c:v>554.60475385421842</c:v>
                </c:pt>
                <c:pt idx="12">
                  <c:v>559.8033055498662</c:v>
                </c:pt>
                <c:pt idx="13">
                  <c:v>474.30926088571522</c:v>
                </c:pt>
                <c:pt idx="14">
                  <c:v>426.0729498265992</c:v>
                </c:pt>
                <c:pt idx="15">
                  <c:v>428.25998660006042</c:v>
                </c:pt>
                <c:pt idx="16">
                  <c:v>396.72152773197342</c:v>
                </c:pt>
                <c:pt idx="17">
                  <c:v>366.71920183572229</c:v>
                </c:pt>
                <c:pt idx="18">
                  <c:v>313.70959623135377</c:v>
                </c:pt>
                <c:pt idx="19">
                  <c:v>279.57620087412045</c:v>
                </c:pt>
                <c:pt idx="20">
                  <c:v>256.30855964535289</c:v>
                </c:pt>
                <c:pt idx="21">
                  <c:v>185.3079729640597</c:v>
                </c:pt>
                <c:pt idx="22">
                  <c:v>124.98220862942225</c:v>
                </c:pt>
                <c:pt idx="23">
                  <c:v>72.120141220088797</c:v>
                </c:pt>
                <c:pt idx="24">
                  <c:v>47.611443409555612</c:v>
                </c:pt>
                <c:pt idx="25">
                  <c:v>56.836919957925581</c:v>
                </c:pt>
                <c:pt idx="26">
                  <c:v>100.69915747011919</c:v>
                </c:pt>
                <c:pt idx="27">
                  <c:v>148.01552448960462</c:v>
                </c:pt>
                <c:pt idx="28">
                  <c:v>173.00155175466307</c:v>
                </c:pt>
                <c:pt idx="29">
                  <c:v>188.11119866972621</c:v>
                </c:pt>
                <c:pt idx="30">
                  <c:v>204.13211090706483</c:v>
                </c:pt>
                <c:pt idx="31">
                  <c:v>222.09705583192451</c:v>
                </c:pt>
                <c:pt idx="32">
                  <c:v>235.93961001315694</c:v>
                </c:pt>
                <c:pt idx="33">
                  <c:v>242.53543520296049</c:v>
                </c:pt>
                <c:pt idx="34">
                  <c:v>241.90188883604515</c:v>
                </c:pt>
                <c:pt idx="35">
                  <c:v>238.79490802295348</c:v>
                </c:pt>
                <c:pt idx="36">
                  <c:v>245.01754836649181</c:v>
                </c:pt>
                <c:pt idx="37">
                  <c:v>244.04553202273127</c:v>
                </c:pt>
                <c:pt idx="38">
                  <c:v>233.90011143473083</c:v>
                </c:pt>
                <c:pt idx="39">
                  <c:v>244.94811862765181</c:v>
                </c:pt>
                <c:pt idx="40">
                  <c:v>327.8298693679464</c:v>
                </c:pt>
                <c:pt idx="41">
                  <c:v>545.36191987113841</c:v>
                </c:pt>
                <c:pt idx="42">
                  <c:v>823.19369855690297</c:v>
                </c:pt>
                <c:pt idx="43">
                  <c:v>977.74429721482602</c:v>
                </c:pt>
                <c:pt idx="44">
                  <c:v>1140.1057414922534</c:v>
                </c:pt>
                <c:pt idx="45">
                  <c:v>1617.6868788208055</c:v>
                </c:pt>
                <c:pt idx="46">
                  <c:v>2063.62541267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C$2:$C$48</c:f>
              <c:numCache>
                <c:formatCode>General</c:formatCode>
                <c:ptCount val="47"/>
                <c:pt idx="0">
                  <c:v>1509.3222431884078</c:v>
                </c:pt>
                <c:pt idx="1">
                  <c:v>1359.7795910375025</c:v>
                </c:pt>
                <c:pt idx="2">
                  <c:v>978.76937581185007</c:v>
                </c:pt>
                <c:pt idx="3">
                  <c:v>893.88952003560155</c:v>
                </c:pt>
                <c:pt idx="4">
                  <c:v>911.64724242395619</c:v>
                </c:pt>
                <c:pt idx="5">
                  <c:v>968.98813430673204</c:v>
                </c:pt>
                <c:pt idx="6">
                  <c:v>1120.8685592839086</c:v>
                </c:pt>
                <c:pt idx="7">
                  <c:v>1396.0150698447035</c:v>
                </c:pt>
                <c:pt idx="8">
                  <c:v>1573.9850395630647</c:v>
                </c:pt>
                <c:pt idx="9">
                  <c:v>1520.225615650136</c:v>
                </c:pt>
                <c:pt idx="10">
                  <c:v>1330.0618228699454</c:v>
                </c:pt>
                <c:pt idx="11">
                  <c:v>1070.7747631625728</c:v>
                </c:pt>
                <c:pt idx="12">
                  <c:v>809.09382408109866</c:v>
                </c:pt>
                <c:pt idx="13">
                  <c:v>602.61237697353613</c:v>
                </c:pt>
                <c:pt idx="14">
                  <c:v>457.60500410559666</c:v>
                </c:pt>
                <c:pt idx="15">
                  <c:v>364.92633818090792</c:v>
                </c:pt>
                <c:pt idx="16">
                  <c:v>298.30916372348861</c:v>
                </c:pt>
                <c:pt idx="17">
                  <c:v>236.18986418381476</c:v>
                </c:pt>
                <c:pt idx="18">
                  <c:v>172.88297604839525</c:v>
                </c:pt>
                <c:pt idx="19">
                  <c:v>118.2632517353989</c:v>
                </c:pt>
                <c:pt idx="20">
                  <c:v>76.753757432130485</c:v>
                </c:pt>
                <c:pt idx="21">
                  <c:v>51.964014382352474</c:v>
                </c:pt>
                <c:pt idx="22">
                  <c:v>35.272316402777314</c:v>
                </c:pt>
                <c:pt idx="23">
                  <c:v>22.021820023473108</c:v>
                </c:pt>
                <c:pt idx="24">
                  <c:v>15.251629918592204</c:v>
                </c:pt>
                <c:pt idx="25">
                  <c:v>15.943610675168429</c:v>
                </c:pt>
                <c:pt idx="26">
                  <c:v>22.180788575659541</c:v>
                </c:pt>
                <c:pt idx="27">
                  <c:v>27.791443358710012</c:v>
                </c:pt>
                <c:pt idx="28">
                  <c:v>27.669879171743919</c:v>
                </c:pt>
                <c:pt idx="29">
                  <c:v>23.676963184472999</c:v>
                </c:pt>
                <c:pt idx="30">
                  <c:v>22.27429948871038</c:v>
                </c:pt>
                <c:pt idx="31">
                  <c:v>23.16265316269337</c:v>
                </c:pt>
                <c:pt idx="32">
                  <c:v>24.125815567117037</c:v>
                </c:pt>
                <c:pt idx="33">
                  <c:v>24.453103762794985</c:v>
                </c:pt>
                <c:pt idx="34">
                  <c:v>28.698499215303173</c:v>
                </c:pt>
                <c:pt idx="35">
                  <c:v>40.780109181471857</c:v>
                </c:pt>
                <c:pt idx="36">
                  <c:v>52.973932243301562</c:v>
                </c:pt>
                <c:pt idx="37">
                  <c:v>59.070843774216407</c:v>
                </c:pt>
                <c:pt idx="38">
                  <c:v>72.536415253537541</c:v>
                </c:pt>
                <c:pt idx="39">
                  <c:v>97.962032512061285</c:v>
                </c:pt>
                <c:pt idx="40">
                  <c:v>145.87702435931232</c:v>
                </c:pt>
                <c:pt idx="41">
                  <c:v>291.39870724903142</c:v>
                </c:pt>
                <c:pt idx="42">
                  <c:v>522.67924849767701</c:v>
                </c:pt>
                <c:pt idx="43">
                  <c:v>821.20348732118259</c:v>
                </c:pt>
                <c:pt idx="44">
                  <c:v>1218.8399428872747</c:v>
                </c:pt>
                <c:pt idx="45">
                  <c:v>1721.6668245442581</c:v>
                </c:pt>
                <c:pt idx="46">
                  <c:v>2204.5758817214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D$2:$D$48</c:f>
              <c:numCache>
                <c:formatCode>General</c:formatCode>
                <c:ptCount val="47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2.60423882181249</c:v>
                </c:pt>
                <c:pt idx="9">
                  <c:v>403.56079665579205</c:v>
                </c:pt>
                <c:pt idx="10">
                  <c:v>490.68915643407922</c:v>
                </c:pt>
                <c:pt idx="11">
                  <c:v>611.57409239447475</c:v>
                </c:pt>
                <c:pt idx="12">
                  <c:v>699.38278272903938</c:v>
                </c:pt>
                <c:pt idx="13">
                  <c:v>669.25661676427183</c:v>
                </c:pt>
                <c:pt idx="14">
                  <c:v>610.40653820837406</c:v>
                </c:pt>
                <c:pt idx="15">
                  <c:v>576.07509756059005</c:v>
                </c:pt>
                <c:pt idx="16">
                  <c:v>488.57834918414403</c:v>
                </c:pt>
                <c:pt idx="17">
                  <c:v>380.09533421580232</c:v>
                </c:pt>
                <c:pt idx="18">
                  <c:v>287.59266013050228</c:v>
                </c:pt>
                <c:pt idx="19">
                  <c:v>251.36282985188282</c:v>
                </c:pt>
                <c:pt idx="20">
                  <c:v>220.51474106975533</c:v>
                </c:pt>
                <c:pt idx="21">
                  <c:v>166.35121907511407</c:v>
                </c:pt>
                <c:pt idx="22">
                  <c:v>115.78097135041872</c:v>
                </c:pt>
                <c:pt idx="23">
                  <c:v>68.722298811400137</c:v>
                </c:pt>
                <c:pt idx="24">
                  <c:v>44.292787177034612</c:v>
                </c:pt>
                <c:pt idx="25">
                  <c:v>42.040863326998242</c:v>
                </c:pt>
                <c:pt idx="26">
                  <c:v>61.03812857641455</c:v>
                </c:pt>
                <c:pt idx="27">
                  <c:v>113.08638700743325</c:v>
                </c:pt>
                <c:pt idx="28">
                  <c:v>256.63910525777283</c:v>
                </c:pt>
                <c:pt idx="29">
                  <c:v>407.94729476209642</c:v>
                </c:pt>
                <c:pt idx="30">
                  <c:v>461.21509770556889</c:v>
                </c:pt>
                <c:pt idx="31">
                  <c:v>481.07094605875898</c:v>
                </c:pt>
                <c:pt idx="32">
                  <c:v>468.31251997171256</c:v>
                </c:pt>
                <c:pt idx="33">
                  <c:v>407.52988671337596</c:v>
                </c:pt>
                <c:pt idx="34">
                  <c:v>327.14392954413574</c:v>
                </c:pt>
                <c:pt idx="35">
                  <c:v>246.32273907142545</c:v>
                </c:pt>
                <c:pt idx="36">
                  <c:v>180.59656849585866</c:v>
                </c:pt>
                <c:pt idx="37">
                  <c:v>134.72178995979453</c:v>
                </c:pt>
                <c:pt idx="38">
                  <c:v>108.57808299367311</c:v>
                </c:pt>
                <c:pt idx="39">
                  <c:v>93.043373479372079</c:v>
                </c:pt>
                <c:pt idx="40">
                  <c:v>91.963460129123774</c:v>
                </c:pt>
                <c:pt idx="41">
                  <c:v>102.03472906266373</c:v>
                </c:pt>
                <c:pt idx="42">
                  <c:v>112.43873608486344</c:v>
                </c:pt>
                <c:pt idx="43">
                  <c:v>132.230710608534</c:v>
                </c:pt>
                <c:pt idx="44">
                  <c:v>173.78583574360485</c:v>
                </c:pt>
                <c:pt idx="45">
                  <c:v>281.2528111912178</c:v>
                </c:pt>
                <c:pt idx="46">
                  <c:v>471.92361949640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F$2:$F$48</c:f>
              <c:numCache>
                <c:formatCode>General</c:formatCode>
                <c:ptCount val="47"/>
                <c:pt idx="0">
                  <c:v>399.54905216315194</c:v>
                </c:pt>
                <c:pt idx="1">
                  <c:v>362.32999418123171</c:v>
                </c:pt>
                <c:pt idx="2">
                  <c:v>300.21719109355553</c:v>
                </c:pt>
                <c:pt idx="3">
                  <c:v>281.16166384044612</c:v>
                </c:pt>
                <c:pt idx="4">
                  <c:v>278.31465237755299</c:v>
                </c:pt>
                <c:pt idx="5">
                  <c:v>279.39443764380928</c:v>
                </c:pt>
                <c:pt idx="6">
                  <c:v>290.24762091784163</c:v>
                </c:pt>
                <c:pt idx="7">
                  <c:v>354.32382237009244</c:v>
                </c:pt>
                <c:pt idx="8">
                  <c:v>442.88298105506686</c:v>
                </c:pt>
                <c:pt idx="9">
                  <c:v>500.74706385595215</c:v>
                </c:pt>
                <c:pt idx="10">
                  <c:v>512.02780185497716</c:v>
                </c:pt>
                <c:pt idx="11">
                  <c:v>492.76604232275361</c:v>
                </c:pt>
                <c:pt idx="12">
                  <c:v>462.7500239430646</c:v>
                </c:pt>
                <c:pt idx="13">
                  <c:v>389.3162424116581</c:v>
                </c:pt>
                <c:pt idx="14">
                  <c:v>332.93267263888521</c:v>
                </c:pt>
                <c:pt idx="15">
                  <c:v>317.07123068425119</c:v>
                </c:pt>
                <c:pt idx="16">
                  <c:v>283.76387926471585</c:v>
                </c:pt>
                <c:pt idx="17">
                  <c:v>237.55443526157498</c:v>
                </c:pt>
                <c:pt idx="18">
                  <c:v>181.23960958184009</c:v>
                </c:pt>
                <c:pt idx="19">
                  <c:v>125.39593244219526</c:v>
                </c:pt>
                <c:pt idx="20">
                  <c:v>88.57089548134681</c:v>
                </c:pt>
                <c:pt idx="21">
                  <c:v>64.842446586845725</c:v>
                </c:pt>
                <c:pt idx="22">
                  <c:v>46.660472320878377</c:v>
                </c:pt>
                <c:pt idx="23">
                  <c:v>31.798334743090244</c:v>
                </c:pt>
                <c:pt idx="24">
                  <c:v>21.233541322778535</c:v>
                </c:pt>
                <c:pt idx="25">
                  <c:v>18.255748414593548</c:v>
                </c:pt>
                <c:pt idx="26">
                  <c:v>24.181153897434616</c:v>
                </c:pt>
                <c:pt idx="27">
                  <c:v>46.346932189217007</c:v>
                </c:pt>
                <c:pt idx="28">
                  <c:v>83.985161470149762</c:v>
                </c:pt>
                <c:pt idx="29">
                  <c:v>116.70902644145967</c:v>
                </c:pt>
                <c:pt idx="30">
                  <c:v>135.63041887888511</c:v>
                </c:pt>
                <c:pt idx="31">
                  <c:v>143.62485389365202</c:v>
                </c:pt>
                <c:pt idx="32">
                  <c:v>148.27765531269105</c:v>
                </c:pt>
                <c:pt idx="33">
                  <c:v>153.13333564045217</c:v>
                </c:pt>
                <c:pt idx="34">
                  <c:v>144.16809989717225</c:v>
                </c:pt>
                <c:pt idx="35">
                  <c:v>122.33095190381567</c:v>
                </c:pt>
                <c:pt idx="36">
                  <c:v>103.75495661677657</c:v>
                </c:pt>
                <c:pt idx="37">
                  <c:v>88.025972792630526</c:v>
                </c:pt>
                <c:pt idx="38">
                  <c:v>74.589017631484978</c:v>
                </c:pt>
                <c:pt idx="39">
                  <c:v>65.231437552329339</c:v>
                </c:pt>
                <c:pt idx="40">
                  <c:v>60.192998538198779</c:v>
                </c:pt>
                <c:pt idx="41">
                  <c:v>72.504897932794705</c:v>
                </c:pt>
                <c:pt idx="42">
                  <c:v>96.464729384350704</c:v>
                </c:pt>
                <c:pt idx="43">
                  <c:v>119.02285201200883</c:v>
                </c:pt>
                <c:pt idx="44">
                  <c:v>155.26775589502395</c:v>
                </c:pt>
                <c:pt idx="45">
                  <c:v>204.58745093683777</c:v>
                </c:pt>
                <c:pt idx="46">
                  <c:v>216.357781013109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K$2:$K$48</c:f>
              <c:numCache>
                <c:formatCode>General</c:formatCode>
                <c:ptCount val="47"/>
                <c:pt idx="0">
                  <c:v>276.21606206892739</c:v>
                </c:pt>
                <c:pt idx="1">
                  <c:v>244.14695247241269</c:v>
                </c:pt>
                <c:pt idx="2">
                  <c:v>171.55387067908924</c:v>
                </c:pt>
                <c:pt idx="3">
                  <c:v>163.80528594734278</c:v>
                </c:pt>
                <c:pt idx="4">
                  <c:v>176.40569255867683</c:v>
                </c:pt>
                <c:pt idx="5">
                  <c:v>205.91582437059895</c:v>
                </c:pt>
                <c:pt idx="6">
                  <c:v>285.44885391573757</c:v>
                </c:pt>
                <c:pt idx="7">
                  <c:v>451.28085026847765</c:v>
                </c:pt>
                <c:pt idx="8">
                  <c:v>646.56156296630968</c:v>
                </c:pt>
                <c:pt idx="9">
                  <c:v>934.26231733248892</c:v>
                </c:pt>
                <c:pt idx="10">
                  <c:v>1145.6236464287008</c:v>
                </c:pt>
                <c:pt idx="11">
                  <c:v>1196.7622584759997</c:v>
                </c:pt>
                <c:pt idx="12">
                  <c:v>1118.0992813776227</c:v>
                </c:pt>
                <c:pt idx="13">
                  <c:v>861.53616869436655</c:v>
                </c:pt>
                <c:pt idx="14">
                  <c:v>648.58827337170703</c:v>
                </c:pt>
                <c:pt idx="15">
                  <c:v>473.25735148255916</c:v>
                </c:pt>
                <c:pt idx="16">
                  <c:v>317.30300937834653</c:v>
                </c:pt>
                <c:pt idx="17">
                  <c:v>214.86201070553477</c:v>
                </c:pt>
                <c:pt idx="18">
                  <c:v>148.13410599449759</c:v>
                </c:pt>
                <c:pt idx="19">
                  <c:v>102.05203404955367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84077487485065</c:v>
                </c:pt>
                <c:pt idx="38">
                  <c:v>68.017629514471835</c:v>
                </c:pt>
                <c:pt idx="39">
                  <c:v>83.903763601222821</c:v>
                </c:pt>
                <c:pt idx="40">
                  <c:v>117.84604493605933</c:v>
                </c:pt>
                <c:pt idx="41">
                  <c:v>215.51710901839047</c:v>
                </c:pt>
                <c:pt idx="42">
                  <c:v>391.42124193128711</c:v>
                </c:pt>
                <c:pt idx="43">
                  <c:v>608.88317406596798</c:v>
                </c:pt>
                <c:pt idx="44">
                  <c:v>882.48907879461092</c:v>
                </c:pt>
                <c:pt idx="45">
                  <c:v>1184.2949187094646</c:v>
                </c:pt>
                <c:pt idx="46">
                  <c:v>1390.7941900149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E$2:$E$48</c:f>
              <c:numCache>
                <c:formatCode>General</c:formatCode>
                <c:ptCount val="47"/>
                <c:pt idx="0">
                  <c:v>312.24392172969306</c:v>
                </c:pt>
                <c:pt idx="1">
                  <c:v>317.82548188060485</c:v>
                </c:pt>
                <c:pt idx="2">
                  <c:v>257.79785856867659</c:v>
                </c:pt>
                <c:pt idx="3">
                  <c:v>208.79387667500762</c:v>
                </c:pt>
                <c:pt idx="4">
                  <c:v>171.55902678416609</c:v>
                </c:pt>
                <c:pt idx="5">
                  <c:v>138.70934489642136</c:v>
                </c:pt>
                <c:pt idx="6">
                  <c:v>124.07488375968121</c:v>
                </c:pt>
                <c:pt idx="7">
                  <c:v>130.74221487489149</c:v>
                </c:pt>
                <c:pt idx="8">
                  <c:v>137.93860382431137</c:v>
                </c:pt>
                <c:pt idx="9">
                  <c:v>155.93498701662014</c:v>
                </c:pt>
                <c:pt idx="10">
                  <c:v>197.07765045560117</c:v>
                </c:pt>
                <c:pt idx="11">
                  <c:v>251.13533707014096</c:v>
                </c:pt>
                <c:pt idx="12">
                  <c:v>272.19183887168509</c:v>
                </c:pt>
                <c:pt idx="13">
                  <c:v>274.59544480483305</c:v>
                </c:pt>
                <c:pt idx="14">
                  <c:v>313.01947241847762</c:v>
                </c:pt>
                <c:pt idx="15">
                  <c:v>344.85071797536875</c:v>
                </c:pt>
                <c:pt idx="16">
                  <c:v>324.09601962015785</c:v>
                </c:pt>
                <c:pt idx="17">
                  <c:v>271.4655867538155</c:v>
                </c:pt>
                <c:pt idx="18">
                  <c:v>206.54658328378528</c:v>
                </c:pt>
                <c:pt idx="19">
                  <c:v>148.49330761679391</c:v>
                </c:pt>
                <c:pt idx="20">
                  <c:v>99.287321822790361</c:v>
                </c:pt>
                <c:pt idx="21">
                  <c:v>60.794757171532247</c:v>
                </c:pt>
                <c:pt idx="22">
                  <c:v>41.745067927478821</c:v>
                </c:pt>
                <c:pt idx="23">
                  <c:v>25.622030429939691</c:v>
                </c:pt>
                <c:pt idx="24">
                  <c:v>14.544280824090784</c:v>
                </c:pt>
                <c:pt idx="25">
                  <c:v>10.005205087405706</c:v>
                </c:pt>
                <c:pt idx="26">
                  <c:v>10.909413022236746</c:v>
                </c:pt>
                <c:pt idx="27">
                  <c:v>17.647685983397853</c:v>
                </c:pt>
                <c:pt idx="28">
                  <c:v>26.127040180776177</c:v>
                </c:pt>
                <c:pt idx="29">
                  <c:v>33.823629264357947</c:v>
                </c:pt>
                <c:pt idx="30">
                  <c:v>43.18434571736281</c:v>
                </c:pt>
                <c:pt idx="31">
                  <c:v>63.088944325332285</c:v>
                </c:pt>
                <c:pt idx="32">
                  <c:v>98.207562879335228</c:v>
                </c:pt>
                <c:pt idx="33">
                  <c:v>139.42958499344769</c:v>
                </c:pt>
                <c:pt idx="34">
                  <c:v>169.56063105585599</c:v>
                </c:pt>
                <c:pt idx="35">
                  <c:v>175.95862363728679</c:v>
                </c:pt>
                <c:pt idx="36">
                  <c:v>160.04961408176885</c:v>
                </c:pt>
                <c:pt idx="37">
                  <c:v>138.33780200830594</c:v>
                </c:pt>
                <c:pt idx="38">
                  <c:v>132.34622203588162</c:v>
                </c:pt>
                <c:pt idx="39">
                  <c:v>137.57788257371391</c:v>
                </c:pt>
                <c:pt idx="40">
                  <c:v>148.148217620389</c:v>
                </c:pt>
                <c:pt idx="41">
                  <c:v>195.6371702615485</c:v>
                </c:pt>
                <c:pt idx="42">
                  <c:v>281.6980462290976</c:v>
                </c:pt>
                <c:pt idx="43">
                  <c:v>378.14288459717977</c:v>
                </c:pt>
                <c:pt idx="44">
                  <c:v>539.29630570577683</c:v>
                </c:pt>
                <c:pt idx="45">
                  <c:v>747.06092441241299</c:v>
                </c:pt>
                <c:pt idx="46">
                  <c:v>894.91816022398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G$2:$G$48</c:f>
              <c:numCache>
                <c:formatCode>General</c:formatCode>
                <c:ptCount val="47"/>
                <c:pt idx="0">
                  <c:v>631.87972369515933</c:v>
                </c:pt>
                <c:pt idx="1">
                  <c:v>526.74739201330908</c:v>
                </c:pt>
                <c:pt idx="2">
                  <c:v>438.92935177395367</c:v>
                </c:pt>
                <c:pt idx="3">
                  <c:v>380.49505431109486</c:v>
                </c:pt>
                <c:pt idx="4">
                  <c:v>327.65027429135057</c:v>
                </c:pt>
                <c:pt idx="5">
                  <c:v>292.2059550477565</c:v>
                </c:pt>
                <c:pt idx="6">
                  <c:v>292.29786900365559</c:v>
                </c:pt>
                <c:pt idx="7">
                  <c:v>340.82269309614173</c:v>
                </c:pt>
                <c:pt idx="8">
                  <c:v>363.62309878136455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590026991101</c:v>
                </c:pt>
                <c:pt idx="12">
                  <c:v>578.59260776265057</c:v>
                </c:pt>
                <c:pt idx="13">
                  <c:v>564.357433842776</c:v>
                </c:pt>
                <c:pt idx="14">
                  <c:v>584.01553116069806</c:v>
                </c:pt>
                <c:pt idx="15">
                  <c:v>634.93011810656105</c:v>
                </c:pt>
                <c:pt idx="16">
                  <c:v>596.40668134034672</c:v>
                </c:pt>
                <c:pt idx="17">
                  <c:v>568.34994630214362</c:v>
                </c:pt>
                <c:pt idx="18">
                  <c:v>520.69830479069901</c:v>
                </c:pt>
                <c:pt idx="19">
                  <c:v>380.63292524494352</c:v>
                </c:pt>
                <c:pt idx="20">
                  <c:v>282.70434985668606</c:v>
                </c:pt>
                <c:pt idx="21">
                  <c:v>212.73485092848892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5992043123729</c:v>
                </c:pt>
                <c:pt idx="27">
                  <c:v>627.42189683405252</c:v>
                </c:pt>
                <c:pt idx="28">
                  <c:v>661.13134016005097</c:v>
                </c:pt>
                <c:pt idx="29">
                  <c:v>398.52167891180773</c:v>
                </c:pt>
                <c:pt idx="30">
                  <c:v>243.75581104443839</c:v>
                </c:pt>
                <c:pt idx="31">
                  <c:v>196.17310499991814</c:v>
                </c:pt>
                <c:pt idx="32">
                  <c:v>189.75061733146785</c:v>
                </c:pt>
                <c:pt idx="33">
                  <c:v>199.61413372389103</c:v>
                </c:pt>
                <c:pt idx="34">
                  <c:v>203.86515418422488</c:v>
                </c:pt>
                <c:pt idx="35">
                  <c:v>197.46564500474935</c:v>
                </c:pt>
                <c:pt idx="36">
                  <c:v>176.58394314892044</c:v>
                </c:pt>
                <c:pt idx="37">
                  <c:v>147.26913583934819</c:v>
                </c:pt>
                <c:pt idx="38">
                  <c:v>133.02247267498623</c:v>
                </c:pt>
                <c:pt idx="39">
                  <c:v>158.98816521648465</c:v>
                </c:pt>
                <c:pt idx="40">
                  <c:v>227.85469667389245</c:v>
                </c:pt>
                <c:pt idx="41">
                  <c:v>335.3136003644388</c:v>
                </c:pt>
                <c:pt idx="42">
                  <c:v>484.34059061035754</c:v>
                </c:pt>
                <c:pt idx="43">
                  <c:v>680.2092306313599</c:v>
                </c:pt>
                <c:pt idx="44">
                  <c:v>936.14364083243026</c:v>
                </c:pt>
                <c:pt idx="45">
                  <c:v>1385.671820646</c:v>
                </c:pt>
                <c:pt idx="46">
                  <c:v>1749.8578924072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J$2:$J$48</c:f>
              <c:numCache>
                <c:formatCode>General</c:formatCode>
                <c:ptCount val="47"/>
                <c:pt idx="0">
                  <c:v>341.44193268911135</c:v>
                </c:pt>
                <c:pt idx="1">
                  <c:v>305.06501662436659</c:v>
                </c:pt>
                <c:pt idx="2">
                  <c:v>230.58559932523562</c:v>
                </c:pt>
                <c:pt idx="3">
                  <c:v>202.09368541734054</c:v>
                </c:pt>
                <c:pt idx="4">
                  <c:v>196.41901296633674</c:v>
                </c:pt>
                <c:pt idx="5">
                  <c:v>199.18785268128801</c:v>
                </c:pt>
                <c:pt idx="6">
                  <c:v>237.01900235464657</c:v>
                </c:pt>
                <c:pt idx="7">
                  <c:v>316.86749228847845</c:v>
                </c:pt>
                <c:pt idx="8">
                  <c:v>417.67591445080888</c:v>
                </c:pt>
                <c:pt idx="9">
                  <c:v>544.04143849205673</c:v>
                </c:pt>
                <c:pt idx="10">
                  <c:v>718.26758203998304</c:v>
                </c:pt>
                <c:pt idx="11">
                  <c:v>920.90397057937889</c:v>
                </c:pt>
                <c:pt idx="12">
                  <c:v>986.66588967035204</c:v>
                </c:pt>
                <c:pt idx="13">
                  <c:v>839.4985022711071</c:v>
                </c:pt>
                <c:pt idx="14">
                  <c:v>650.34538838548929</c:v>
                </c:pt>
                <c:pt idx="15">
                  <c:v>462.92576311303782</c:v>
                </c:pt>
                <c:pt idx="16">
                  <c:v>290.95210096975779</c:v>
                </c:pt>
                <c:pt idx="17">
                  <c:v>191.7085606253921</c:v>
                </c:pt>
                <c:pt idx="18">
                  <c:v>131.3842106796703</c:v>
                </c:pt>
                <c:pt idx="19">
                  <c:v>83.083632816762503</c:v>
                </c:pt>
                <c:pt idx="20">
                  <c:v>45.1023177164275</c:v>
                </c:pt>
                <c:pt idx="21">
                  <c:v>24.179268224379182</c:v>
                </c:pt>
                <c:pt idx="22">
                  <c:v>13.688764185429751</c:v>
                </c:pt>
                <c:pt idx="23">
                  <c:v>8.8623946727840028</c:v>
                </c:pt>
                <c:pt idx="24">
                  <c:v>5.4533760323016898</c:v>
                </c:pt>
                <c:pt idx="25">
                  <c:v>3.859514921411582</c:v>
                </c:pt>
                <c:pt idx="26">
                  <c:v>3.106053305354441</c:v>
                </c:pt>
                <c:pt idx="27">
                  <c:v>3.1323981171046906</c:v>
                </c:pt>
                <c:pt idx="28">
                  <c:v>3.6013357662591354</c:v>
                </c:pt>
                <c:pt idx="29">
                  <c:v>4.3047422399908024</c:v>
                </c:pt>
                <c:pt idx="30">
                  <c:v>5.1056245171983941</c:v>
                </c:pt>
                <c:pt idx="31">
                  <c:v>6.1725893930835074</c:v>
                </c:pt>
                <c:pt idx="32">
                  <c:v>6.984009594991198</c:v>
                </c:pt>
                <c:pt idx="33">
                  <c:v>7.8033332404239637</c:v>
                </c:pt>
                <c:pt idx="34">
                  <c:v>10.261304176722261</c:v>
                </c:pt>
                <c:pt idx="35">
                  <c:v>14.579218822588187</c:v>
                </c:pt>
                <c:pt idx="36">
                  <c:v>20.103725846615554</c:v>
                </c:pt>
                <c:pt idx="37">
                  <c:v>25.654577682393167</c:v>
                </c:pt>
                <c:pt idx="38">
                  <c:v>34.917413493780963</c:v>
                </c:pt>
                <c:pt idx="39">
                  <c:v>51.772824051590725</c:v>
                </c:pt>
                <c:pt idx="40">
                  <c:v>77.917415232538531</c:v>
                </c:pt>
                <c:pt idx="41">
                  <c:v>138.51048225811286</c:v>
                </c:pt>
                <c:pt idx="42">
                  <c:v>234.55049349364819</c:v>
                </c:pt>
                <c:pt idx="43">
                  <c:v>357.38581276036246</c:v>
                </c:pt>
                <c:pt idx="44">
                  <c:v>484.39678468949137</c:v>
                </c:pt>
                <c:pt idx="45">
                  <c:v>648.62507217819791</c:v>
                </c:pt>
                <c:pt idx="46">
                  <c:v>808.646093230389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B$2:$B$48</c:f>
              <c:numCache>
                <c:formatCode>General</c:formatCode>
                <c:ptCount val="47"/>
                <c:pt idx="0">
                  <c:v>331.7693255547876</c:v>
                </c:pt>
                <c:pt idx="1">
                  <c:v>287.41507756825473</c:v>
                </c:pt>
                <c:pt idx="2">
                  <c:v>237.15142369496499</c:v>
                </c:pt>
                <c:pt idx="3">
                  <c:v>220.99605170797557</c:v>
                </c:pt>
                <c:pt idx="4">
                  <c:v>209.25588221812583</c:v>
                </c:pt>
                <c:pt idx="5">
                  <c:v>208.73909006833341</c:v>
                </c:pt>
                <c:pt idx="6">
                  <c:v>237.06154679934895</c:v>
                </c:pt>
                <c:pt idx="7">
                  <c:v>290.30237283992113</c:v>
                </c:pt>
                <c:pt idx="8">
                  <c:v>343.12751823826903</c:v>
                </c:pt>
                <c:pt idx="9">
                  <c:v>388.38053518096262</c:v>
                </c:pt>
                <c:pt idx="10">
                  <c:v>441.78988040081498</c:v>
                </c:pt>
                <c:pt idx="11">
                  <c:v>487.71697406062913</c:v>
                </c:pt>
                <c:pt idx="12">
                  <c:v>484.26794819136228</c:v>
                </c:pt>
                <c:pt idx="13">
                  <c:v>431.34169128544636</c:v>
                </c:pt>
                <c:pt idx="14">
                  <c:v>386.7739856718253</c:v>
                </c:pt>
                <c:pt idx="15">
                  <c:v>358.0021444627294</c:v>
                </c:pt>
                <c:pt idx="16">
                  <c:v>309.85059763641743</c:v>
                </c:pt>
                <c:pt idx="17">
                  <c:v>242.11712217775315</c:v>
                </c:pt>
                <c:pt idx="18">
                  <c:v>165.71052629213767</c:v>
                </c:pt>
                <c:pt idx="19">
                  <c:v>111.07660836951628</c:v>
                </c:pt>
                <c:pt idx="20">
                  <c:v>82.16995181699626</c:v>
                </c:pt>
                <c:pt idx="21">
                  <c:v>62.722838528068102</c:v>
                </c:pt>
                <c:pt idx="22">
                  <c:v>46.14055128690233</c:v>
                </c:pt>
                <c:pt idx="23">
                  <c:v>30.164933091145063</c:v>
                </c:pt>
                <c:pt idx="24">
                  <c:v>18.885382691327688</c:v>
                </c:pt>
                <c:pt idx="25">
                  <c:v>14.739810881036243</c:v>
                </c:pt>
                <c:pt idx="26">
                  <c:v>19.3797056172161</c:v>
                </c:pt>
                <c:pt idx="27">
                  <c:v>36.894465650398651</c:v>
                </c:pt>
                <c:pt idx="28">
                  <c:v>53.061072249340079</c:v>
                </c:pt>
                <c:pt idx="29">
                  <c:v>64.958526306517967</c:v>
                </c:pt>
                <c:pt idx="30">
                  <c:v>77.70981087204855</c:v>
                </c:pt>
                <c:pt idx="31">
                  <c:v>107.42535948511323</c:v>
                </c:pt>
                <c:pt idx="32">
                  <c:v>156.81271362614626</c:v>
                </c:pt>
                <c:pt idx="33">
                  <c:v>196.60570916016331</c:v>
                </c:pt>
                <c:pt idx="34">
                  <c:v>233.09572878028965</c:v>
                </c:pt>
                <c:pt idx="35">
                  <c:v>284.98840138662075</c:v>
                </c:pt>
                <c:pt idx="36">
                  <c:v>312.29974304195542</c:v>
                </c:pt>
                <c:pt idx="37">
                  <c:v>286.41519710452593</c:v>
                </c:pt>
                <c:pt idx="38">
                  <c:v>273.52909719557124</c:v>
                </c:pt>
                <c:pt idx="39">
                  <c:v>285.13445134199691</c:v>
                </c:pt>
                <c:pt idx="40">
                  <c:v>316.24309183711068</c:v>
                </c:pt>
                <c:pt idx="41">
                  <c:v>440.78999993708618</c:v>
                </c:pt>
                <c:pt idx="42">
                  <c:v>657.12368768497788</c:v>
                </c:pt>
                <c:pt idx="43">
                  <c:v>1025.1134021730436</c:v>
                </c:pt>
                <c:pt idx="44">
                  <c:v>1524.6716572310906</c:v>
                </c:pt>
                <c:pt idx="45">
                  <c:v>1986.6613699216184</c:v>
                </c:pt>
                <c:pt idx="46">
                  <c:v>2034.2624207622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L$2:$L$48</c:f>
              <c:numCache>
                <c:formatCode>General</c:formatCode>
                <c:ptCount val="47"/>
                <c:pt idx="0">
                  <c:v>1664.1647762782316</c:v>
                </c:pt>
                <c:pt idx="1">
                  <c:v>1355.4364493274211</c:v>
                </c:pt>
                <c:pt idx="2">
                  <c:v>1235.0598850504582</c:v>
                </c:pt>
                <c:pt idx="3">
                  <c:v>1285.8305790552472</c:v>
                </c:pt>
                <c:pt idx="4">
                  <c:v>1324.7101938795572</c:v>
                </c:pt>
                <c:pt idx="5">
                  <c:v>1377.8444459957204</c:v>
                </c:pt>
                <c:pt idx="6">
                  <c:v>1381.600487955656</c:v>
                </c:pt>
                <c:pt idx="7">
                  <c:v>1374.1983369711975</c:v>
                </c:pt>
                <c:pt idx="8">
                  <c:v>1294.6435360441697</c:v>
                </c:pt>
                <c:pt idx="9">
                  <c:v>1165.802135740425</c:v>
                </c:pt>
                <c:pt idx="10">
                  <c:v>978.29319223807511</c:v>
                </c:pt>
                <c:pt idx="11">
                  <c:v>802.2539183304558</c:v>
                </c:pt>
                <c:pt idx="12">
                  <c:v>615.29463950516993</c:v>
                </c:pt>
                <c:pt idx="13">
                  <c:v>502.04539387413377</c:v>
                </c:pt>
                <c:pt idx="14">
                  <c:v>431.66999305407074</c:v>
                </c:pt>
                <c:pt idx="15">
                  <c:v>340.88371055904008</c:v>
                </c:pt>
                <c:pt idx="16">
                  <c:v>285.27596739608998</c:v>
                </c:pt>
                <c:pt idx="17">
                  <c:v>223.97003374757892</c:v>
                </c:pt>
                <c:pt idx="18">
                  <c:v>164.8627588073229</c:v>
                </c:pt>
                <c:pt idx="19">
                  <c:v>115.61280374241028</c:v>
                </c:pt>
                <c:pt idx="20">
                  <c:v>83.530708757788986</c:v>
                </c:pt>
                <c:pt idx="21">
                  <c:v>64.530633087285111</c:v>
                </c:pt>
                <c:pt idx="22">
                  <c:v>46.593242459104488</c:v>
                </c:pt>
                <c:pt idx="23">
                  <c:v>29.993369211779022</c:v>
                </c:pt>
                <c:pt idx="24">
                  <c:v>19.201619385427254</c:v>
                </c:pt>
                <c:pt idx="25">
                  <c:v>12.51403248115154</c:v>
                </c:pt>
                <c:pt idx="26">
                  <c:v>9.9122863430497556</c:v>
                </c:pt>
                <c:pt idx="27">
                  <c:v>10.333695928798637</c:v>
                </c:pt>
                <c:pt idx="28">
                  <c:v>11.616246841947403</c:v>
                </c:pt>
                <c:pt idx="29">
                  <c:v>15.592154672708581</c:v>
                </c:pt>
                <c:pt idx="30">
                  <c:v>18.523699617048617</c:v>
                </c:pt>
                <c:pt idx="31">
                  <c:v>21.60182180860566</c:v>
                </c:pt>
                <c:pt idx="32">
                  <c:v>27.922965594838868</c:v>
                </c:pt>
                <c:pt idx="33">
                  <c:v>36.277868686207981</c:v>
                </c:pt>
                <c:pt idx="34">
                  <c:v>63.834391163004348</c:v>
                </c:pt>
                <c:pt idx="35">
                  <c:v>117.0052875909718</c:v>
                </c:pt>
                <c:pt idx="36">
                  <c:v>189.96411239323453</c:v>
                </c:pt>
                <c:pt idx="37">
                  <c:v>267.08206658527962</c:v>
                </c:pt>
                <c:pt idx="38">
                  <c:v>346.69183398001383</c:v>
                </c:pt>
                <c:pt idx="39">
                  <c:v>438.96221110311654</c:v>
                </c:pt>
                <c:pt idx="40">
                  <c:v>547.5576291350128</c:v>
                </c:pt>
                <c:pt idx="41">
                  <c:v>807.10928964451909</c:v>
                </c:pt>
                <c:pt idx="42">
                  <c:v>1171.958380123539</c:v>
                </c:pt>
                <c:pt idx="43">
                  <c:v>1666.9863882871589</c:v>
                </c:pt>
                <c:pt idx="44">
                  <c:v>2128.8512942679317</c:v>
                </c:pt>
                <c:pt idx="45">
                  <c:v>2458.6684226620882</c:v>
                </c:pt>
                <c:pt idx="46">
                  <c:v>2533.7709397048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8</c:f>
              <c:numCache>
                <c:formatCode>General</c:formatCode>
                <c:ptCount val="47"/>
                <c:pt idx="0">
                  <c:v>545.40617596146285</c:v>
                </c:pt>
                <c:pt idx="1">
                  <c:v>830.79290740207171</c:v>
                </c:pt>
                <c:pt idx="2">
                  <c:v>1008.9153326710416</c:v>
                </c:pt>
                <c:pt idx="3">
                  <c:v>941.4121941374292</c:v>
                </c:pt>
                <c:pt idx="4">
                  <c:v>700.30360038851859</c:v>
                </c:pt>
                <c:pt idx="5">
                  <c:v>433.68194285656818</c:v>
                </c:pt>
                <c:pt idx="6">
                  <c:v>265.15121265011902</c:v>
                </c:pt>
                <c:pt idx="7">
                  <c:v>105.98823044085417</c:v>
                </c:pt>
                <c:pt idx="8">
                  <c:v>70.733469315681575</c:v>
                </c:pt>
                <c:pt idx="9">
                  <c:v>139.01197174531708</c:v>
                </c:pt>
                <c:pt idx="10">
                  <c:v>139.80212459848508</c:v>
                </c:pt>
                <c:pt idx="11">
                  <c:v>161.44470702589973</c:v>
                </c:pt>
                <c:pt idx="12">
                  <c:v>180.89852379587572</c:v>
                </c:pt>
                <c:pt idx="13">
                  <c:v>217.32161253549191</c:v>
                </c:pt>
                <c:pt idx="14">
                  <c:v>250.64747110734262</c:v>
                </c:pt>
                <c:pt idx="15">
                  <c:v>247.0727688946146</c:v>
                </c:pt>
                <c:pt idx="16">
                  <c:v>235.5690729440804</c:v>
                </c:pt>
                <c:pt idx="17">
                  <c:v>201.76151691094009</c:v>
                </c:pt>
                <c:pt idx="18">
                  <c:v>162.53908985461905</c:v>
                </c:pt>
                <c:pt idx="19">
                  <c:v>142.2930075233115</c:v>
                </c:pt>
                <c:pt idx="20">
                  <c:v>134.12739047118757</c:v>
                </c:pt>
                <c:pt idx="21">
                  <c:v>125.5688097006432</c:v>
                </c:pt>
                <c:pt idx="22">
                  <c:v>111.6185976967171</c:v>
                </c:pt>
                <c:pt idx="23">
                  <c:v>101.52407809127126</c:v>
                </c:pt>
                <c:pt idx="24">
                  <c:v>113.02143591731485</c:v>
                </c:pt>
                <c:pt idx="25">
                  <c:v>229.18658158199335</c:v>
                </c:pt>
                <c:pt idx="26">
                  <c:v>450.43571859352625</c:v>
                </c:pt>
                <c:pt idx="27">
                  <c:v>656.10574560703537</c:v>
                </c:pt>
                <c:pt idx="28">
                  <c:v>763.47568718685181</c:v>
                </c:pt>
                <c:pt idx="29">
                  <c:v>723.08493251608718</c:v>
                </c:pt>
                <c:pt idx="30">
                  <c:v>582.11659301132192</c:v>
                </c:pt>
                <c:pt idx="31">
                  <c:v>441.15247892288392</c:v>
                </c:pt>
                <c:pt idx="32">
                  <c:v>334.57480290439906</c:v>
                </c:pt>
                <c:pt idx="33">
                  <c:v>252.61017699128129</c:v>
                </c:pt>
                <c:pt idx="34">
                  <c:v>180.3787975876422</c:v>
                </c:pt>
                <c:pt idx="35">
                  <c:v>120.83000528979871</c:v>
                </c:pt>
                <c:pt idx="36">
                  <c:v>86.694979491308047</c:v>
                </c:pt>
                <c:pt idx="37">
                  <c:v>68.305967635761675</c:v>
                </c:pt>
                <c:pt idx="38">
                  <c:v>56.451562130078003</c:v>
                </c:pt>
                <c:pt idx="39">
                  <c:v>47.899319484024275</c:v>
                </c:pt>
                <c:pt idx="40">
                  <c:v>44.635185371338245</c:v>
                </c:pt>
                <c:pt idx="41">
                  <c:v>48.512004851454009</c:v>
                </c:pt>
                <c:pt idx="42">
                  <c:v>54.002933368522598</c:v>
                </c:pt>
                <c:pt idx="43">
                  <c:v>61.663613169557884</c:v>
                </c:pt>
                <c:pt idx="44">
                  <c:v>87.045689046457483</c:v>
                </c:pt>
                <c:pt idx="45">
                  <c:v>138.83450425957884</c:v>
                </c:pt>
                <c:pt idx="46">
                  <c:v>199.43965063919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H$2:$H$48</c:f>
              <c:numCache>
                <c:formatCode>General</c:formatCode>
                <c:ptCount val="47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  <c:pt idx="41">
                  <c:v>852.05137718246658</c:v>
                </c:pt>
                <c:pt idx="42">
                  <c:v>936.13764694178133</c:v>
                </c:pt>
                <c:pt idx="43">
                  <c:v>776.13291698809326</c:v>
                </c:pt>
                <c:pt idx="44">
                  <c:v>697.6211515441928</c:v>
                </c:pt>
                <c:pt idx="45">
                  <c:v>798.68365294828766</c:v>
                </c:pt>
                <c:pt idx="46">
                  <c:v>860.73637850255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I$2:$I$48</c:f>
              <c:numCache>
                <c:formatCode>General</c:formatCode>
                <c:ptCount val="47"/>
                <c:pt idx="0">
                  <c:v>129.48646293666968</c:v>
                </c:pt>
                <c:pt idx="1">
                  <c:v>123.09024824603122</c:v>
                </c:pt>
                <c:pt idx="2">
                  <c:v>133.86053648359203</c:v>
                </c:pt>
                <c:pt idx="3">
                  <c:v>147.52083760036936</c:v>
                </c:pt>
                <c:pt idx="4">
                  <c:v>133.4526367679068</c:v>
                </c:pt>
                <c:pt idx="5">
                  <c:v>112.23317283492037</c:v>
                </c:pt>
                <c:pt idx="6">
                  <c:v>135.91739249672813</c:v>
                </c:pt>
                <c:pt idx="7">
                  <c:v>147.14765275410417</c:v>
                </c:pt>
                <c:pt idx="8">
                  <c:v>144.94325854593296</c:v>
                </c:pt>
                <c:pt idx="9">
                  <c:v>187.06107386977064</c:v>
                </c:pt>
                <c:pt idx="10">
                  <c:v>257.02021446846328</c:v>
                </c:pt>
                <c:pt idx="11">
                  <c:v>297.58453938575514</c:v>
                </c:pt>
                <c:pt idx="12">
                  <c:v>262.21876616411106</c:v>
                </c:pt>
                <c:pt idx="13">
                  <c:v>212.0904947216041</c:v>
                </c:pt>
                <c:pt idx="14">
                  <c:v>213.98245510499513</c:v>
                </c:pt>
                <c:pt idx="15">
                  <c:v>214.27753149506529</c:v>
                </c:pt>
                <c:pt idx="16">
                  <c:v>182.44399623690816</c:v>
                </c:pt>
                <c:pt idx="17">
                  <c:v>184.27520559881415</c:v>
                </c:pt>
                <c:pt idx="18">
                  <c:v>129.43439063253965</c:v>
                </c:pt>
                <c:pt idx="19">
                  <c:v>150.14181024158077</c:v>
                </c:pt>
                <c:pt idx="20">
                  <c:v>106.16674940377212</c:v>
                </c:pt>
                <c:pt idx="21">
                  <c:v>79.141223560287571</c:v>
                </c:pt>
                <c:pt idx="22">
                  <c:v>45.840985069134661</c:v>
                </c:pt>
                <c:pt idx="23">
                  <c:v>26.27915615095414</c:v>
                </c:pt>
                <c:pt idx="24">
                  <c:v>21.332287258601475</c:v>
                </c:pt>
                <c:pt idx="25">
                  <c:v>35.504632699324098</c:v>
                </c:pt>
                <c:pt idx="26">
                  <c:v>65.19452477079507</c:v>
                </c:pt>
                <c:pt idx="27">
                  <c:v>82.82099971880956</c:v>
                </c:pt>
                <c:pt idx="28">
                  <c:v>90.180552035853523</c:v>
                </c:pt>
                <c:pt idx="29">
                  <c:v>97.930646633872684</c:v>
                </c:pt>
                <c:pt idx="30">
                  <c:v>106.20146427319213</c:v>
                </c:pt>
                <c:pt idx="31">
                  <c:v>115.89559155873235</c:v>
                </c:pt>
                <c:pt idx="32">
                  <c:v>120.04401845442459</c:v>
                </c:pt>
                <c:pt idx="33">
                  <c:v>122.4914167485359</c:v>
                </c:pt>
                <c:pt idx="34">
                  <c:v>119.41047208750923</c:v>
                </c:pt>
                <c:pt idx="35">
                  <c:v>119.38443593544423</c:v>
                </c:pt>
                <c:pt idx="36">
                  <c:v>125.63311243104758</c:v>
                </c:pt>
                <c:pt idx="37">
                  <c:v>118.41241959168372</c:v>
                </c:pt>
                <c:pt idx="38">
                  <c:v>115.48769184304714</c:v>
                </c:pt>
                <c:pt idx="39">
                  <c:v>129.46042678460466</c:v>
                </c:pt>
                <c:pt idx="40">
                  <c:v>198.36944258334174</c:v>
                </c:pt>
                <c:pt idx="41">
                  <c:v>346.9924772877967</c:v>
                </c:pt>
                <c:pt idx="42">
                  <c:v>476.20122126910621</c:v>
                </c:pt>
                <c:pt idx="43">
                  <c:v>501.54307594571981</c:v>
                </c:pt>
                <c:pt idx="44">
                  <c:v>638.56266554653359</c:v>
                </c:pt>
                <c:pt idx="45">
                  <c:v>979.12421327427182</c:v>
                </c:pt>
                <c:pt idx="46">
                  <c:v>1084.5011993987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C$2:$C$48</c:f>
              <c:numCache>
                <c:formatCode>General</c:formatCode>
                <c:ptCount val="47"/>
                <c:pt idx="0">
                  <c:v>831.63930521765656</c:v>
                </c:pt>
                <c:pt idx="1">
                  <c:v>528.14028581984621</c:v>
                </c:pt>
                <c:pt idx="2">
                  <c:v>450.62908999200391</c:v>
                </c:pt>
                <c:pt idx="3">
                  <c:v>443.26043004359764</c:v>
                </c:pt>
                <c:pt idx="4">
                  <c:v>468.38681238035861</c:v>
                </c:pt>
                <c:pt idx="5">
                  <c:v>500.60132192637343</c:v>
                </c:pt>
                <c:pt idx="6">
                  <c:v>620.26723735753501</c:v>
                </c:pt>
                <c:pt idx="7">
                  <c:v>775.74783248716869</c:v>
                </c:pt>
                <c:pt idx="8">
                  <c:v>798.23720707589587</c:v>
                </c:pt>
                <c:pt idx="9">
                  <c:v>721.98840857424</c:v>
                </c:pt>
                <c:pt idx="10">
                  <c:v>608.07341429570522</c:v>
                </c:pt>
                <c:pt idx="11">
                  <c:v>462.70134886686753</c:v>
                </c:pt>
                <c:pt idx="12">
                  <c:v>346.39247521423118</c:v>
                </c:pt>
                <c:pt idx="13">
                  <c:v>256.21990175930495</c:v>
                </c:pt>
                <c:pt idx="14">
                  <c:v>201.38510234629166</c:v>
                </c:pt>
                <c:pt idx="15">
                  <c:v>163.54123583461623</c:v>
                </c:pt>
                <c:pt idx="16">
                  <c:v>134.76792788887238</c:v>
                </c:pt>
                <c:pt idx="17">
                  <c:v>101.4219362949424</c:v>
                </c:pt>
                <c:pt idx="18">
                  <c:v>71.461039753452866</c:v>
                </c:pt>
                <c:pt idx="19">
                  <c:v>46.802211981946037</c:v>
                </c:pt>
                <c:pt idx="20">
                  <c:v>29.951545450184444</c:v>
                </c:pt>
                <c:pt idx="21">
                  <c:v>22.012468932168026</c:v>
                </c:pt>
                <c:pt idx="22">
                  <c:v>13.259847470609287</c:v>
                </c:pt>
                <c:pt idx="23">
                  <c:v>8.7619725528638224</c:v>
                </c:pt>
                <c:pt idx="24">
                  <c:v>6.4896573657283811</c:v>
                </c:pt>
                <c:pt idx="25">
                  <c:v>9.453953309440049</c:v>
                </c:pt>
                <c:pt idx="26">
                  <c:v>12.72683526621949</c:v>
                </c:pt>
                <c:pt idx="27">
                  <c:v>15.064608092490522</c:v>
                </c:pt>
                <c:pt idx="28">
                  <c:v>12.605271079253397</c:v>
                </c:pt>
                <c:pt idx="29">
                  <c:v>11.071692105219602</c:v>
                </c:pt>
                <c:pt idx="30">
                  <c:v>11.202607383490779</c:v>
                </c:pt>
                <c:pt idx="31">
                  <c:v>11.960045779202593</c:v>
                </c:pt>
                <c:pt idx="32">
                  <c:v>12.165769787914444</c:v>
                </c:pt>
                <c:pt idx="33">
                  <c:v>12.287333974880539</c:v>
                </c:pt>
                <c:pt idx="34">
                  <c:v>16.411165240422637</c:v>
                </c:pt>
                <c:pt idx="35">
                  <c:v>24.368943941049224</c:v>
                </c:pt>
                <c:pt idx="36">
                  <c:v>28.604988302252334</c:v>
                </c:pt>
                <c:pt idx="37">
                  <c:v>30.465855471964073</c:v>
                </c:pt>
                <c:pt idx="38">
                  <c:v>42.070559781573472</c:v>
                </c:pt>
                <c:pt idx="39">
                  <c:v>55.891472730487799</c:v>
                </c:pt>
                <c:pt idx="40">
                  <c:v>89.985551628824524</c:v>
                </c:pt>
                <c:pt idx="41">
                  <c:v>201.41315562020694</c:v>
                </c:pt>
                <c:pt idx="42">
                  <c:v>321.2660928774701</c:v>
                </c:pt>
                <c:pt idx="43">
                  <c:v>499.93739444371244</c:v>
                </c:pt>
                <c:pt idx="44">
                  <c:v>718.9025484435623</c:v>
                </c:pt>
                <c:pt idx="45">
                  <c:v>1002.7642761006958</c:v>
                </c:pt>
                <c:pt idx="46">
                  <c:v>1201.8116056207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D$2:$D$48</c:f>
              <c:numCache>
                <c:formatCode>General</c:formatCode>
                <c:ptCount val="47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88.64467101531582</c:v>
                </c:pt>
                <c:pt idx="9">
                  <c:v>214.91612564047625</c:v>
                </c:pt>
                <c:pt idx="10">
                  <c:v>275.77303079360291</c:v>
                </c:pt>
                <c:pt idx="11">
                  <c:v>335.80106160087189</c:v>
                </c:pt>
                <c:pt idx="12">
                  <c:v>363.58172112816749</c:v>
                </c:pt>
                <c:pt idx="13">
                  <c:v>305.67489563610428</c:v>
                </c:pt>
                <c:pt idx="14">
                  <c:v>304.73164257226983</c:v>
                </c:pt>
                <c:pt idx="15">
                  <c:v>271.34345498832027</c:v>
                </c:pt>
                <c:pt idx="16">
                  <c:v>217.23489419582373</c:v>
                </c:pt>
                <c:pt idx="17">
                  <c:v>162.86044001997854</c:v>
                </c:pt>
                <c:pt idx="18">
                  <c:v>124.7322201105237</c:v>
                </c:pt>
                <c:pt idx="19">
                  <c:v>126.63060974135911</c:v>
                </c:pt>
                <c:pt idx="20">
                  <c:v>93.884131328396208</c:v>
                </c:pt>
                <c:pt idx="21">
                  <c:v>72.467087746717866</c:v>
                </c:pt>
                <c:pt idx="22">
                  <c:v>43.313883603700859</c:v>
                </c:pt>
                <c:pt idx="23">
                  <c:v>25.408415207699271</c:v>
                </c:pt>
                <c:pt idx="24">
                  <c:v>18.884371969335334</c:v>
                </c:pt>
                <c:pt idx="25">
                  <c:v>23.156491357662905</c:v>
                </c:pt>
                <c:pt idx="26">
                  <c:v>37.881637218751642</c:v>
                </c:pt>
                <c:pt idx="27">
                  <c:v>75.204749788681596</c:v>
                </c:pt>
                <c:pt idx="28">
                  <c:v>181.43435546909117</c:v>
                </c:pt>
                <c:pt idx="29">
                  <c:v>226.51293929300525</c:v>
                </c:pt>
                <c:pt idx="30">
                  <c:v>234.70215841256362</c:v>
                </c:pt>
                <c:pt idx="31">
                  <c:v>246.3687876461953</c:v>
                </c:pt>
                <c:pt idx="32">
                  <c:v>221.9437323255172</c:v>
                </c:pt>
                <c:pt idx="33">
                  <c:v>185.58615438785876</c:v>
                </c:pt>
                <c:pt idx="34">
                  <c:v>141.55777515627699</c:v>
                </c:pt>
                <c:pt idx="35">
                  <c:v>104.76496391514847</c:v>
                </c:pt>
                <c:pt idx="36">
                  <c:v>75.831604580710206</c:v>
                </c:pt>
                <c:pt idx="37">
                  <c:v>58.890185379084343</c:v>
                </c:pt>
                <c:pt idx="38">
                  <c:v>49.687897614588763</c:v>
                </c:pt>
                <c:pt idx="39">
                  <c:v>43.355475864783322</c:v>
                </c:pt>
                <c:pt idx="40">
                  <c:v>48.607984264340445</c:v>
                </c:pt>
                <c:pt idx="41">
                  <c:v>53.426744798323284</c:v>
                </c:pt>
                <c:pt idx="42">
                  <c:v>59.011991286540137</c:v>
                </c:pt>
                <c:pt idx="43">
                  <c:v>73.218719321993859</c:v>
                </c:pt>
                <c:pt idx="44">
                  <c:v>100.567116421611</c:v>
                </c:pt>
                <c:pt idx="45">
                  <c:v>180.68569476960681</c:v>
                </c:pt>
                <c:pt idx="46">
                  <c:v>291.23792472680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F$2:$F$48</c:f>
              <c:numCache>
                <c:formatCode>General</c:formatCode>
                <c:ptCount val="47"/>
                <c:pt idx="0">
                  <c:v>204.68302199301266</c:v>
                </c:pt>
                <c:pt idx="1">
                  <c:v>157.64697218821902</c:v>
                </c:pt>
                <c:pt idx="2">
                  <c:v>142.5702189053365</c:v>
                </c:pt>
                <c:pt idx="3">
                  <c:v>138.59144493510962</c:v>
                </c:pt>
                <c:pt idx="4">
                  <c:v>139.72320744244342</c:v>
                </c:pt>
                <c:pt idx="5">
                  <c:v>139.67123020136586</c:v>
                </c:pt>
                <c:pt idx="6">
                  <c:v>150.57639071647577</c:v>
                </c:pt>
                <c:pt idx="7">
                  <c:v>203.74743165361667</c:v>
                </c:pt>
                <c:pt idx="8">
                  <c:v>239.13554940145019</c:v>
                </c:pt>
                <c:pt idx="9">
                  <c:v>261.6115144545019</c:v>
                </c:pt>
                <c:pt idx="10">
                  <c:v>250.41628740047531</c:v>
                </c:pt>
                <c:pt idx="11">
                  <c:v>242.34975492227824</c:v>
                </c:pt>
                <c:pt idx="12">
                  <c:v>220.40026902078637</c:v>
                </c:pt>
                <c:pt idx="13">
                  <c:v>168.91597339087181</c:v>
                </c:pt>
                <c:pt idx="14">
                  <c:v>164.0166992480134</c:v>
                </c:pt>
                <c:pt idx="15">
                  <c:v>153.0545314362378</c:v>
                </c:pt>
                <c:pt idx="16">
                  <c:v>130.70934782847806</c:v>
                </c:pt>
                <c:pt idx="17">
                  <c:v>106.84508743309691</c:v>
                </c:pt>
                <c:pt idx="18">
                  <c:v>74.394522148743164</c:v>
                </c:pt>
                <c:pt idx="19">
                  <c:v>51.001410293452096</c:v>
                </c:pt>
                <c:pt idx="20">
                  <c:v>37.569485187894706</c:v>
                </c:pt>
                <c:pt idx="21">
                  <c:v>27.272961398951011</c:v>
                </c:pt>
                <c:pt idx="22">
                  <c:v>19.387510921927365</c:v>
                </c:pt>
                <c:pt idx="23">
                  <c:v>12.410823821162879</c:v>
                </c:pt>
                <c:pt idx="24">
                  <c:v>8.8227175016156529</c:v>
                </c:pt>
                <c:pt idx="25">
                  <c:v>9.4330309129778911</c:v>
                </c:pt>
                <c:pt idx="26">
                  <c:v>14.748122984456726</c:v>
                </c:pt>
                <c:pt idx="27">
                  <c:v>31.598809204760283</c:v>
                </c:pt>
                <c:pt idx="28">
                  <c:v>52.386352265389483</c:v>
                </c:pt>
                <c:pt idx="29">
                  <c:v>64.322674176070194</c:v>
                </c:pt>
                <c:pt idx="30">
                  <c:v>71.307744702814929</c:v>
                </c:pt>
                <c:pt idx="31">
                  <c:v>72.317109190837087</c:v>
                </c:pt>
                <c:pt idx="32">
                  <c:v>75.960546121853966</c:v>
                </c:pt>
                <c:pt idx="33">
                  <c:v>77.172789518598194</c:v>
                </c:pt>
                <c:pt idx="34">
                  <c:v>66.995310378574061</c:v>
                </c:pt>
                <c:pt idx="35">
                  <c:v>55.33564152524162</c:v>
                </c:pt>
                <c:pt idx="36">
                  <c:v>48.419315091534941</c:v>
                </c:pt>
                <c:pt idx="37">
                  <c:v>39.606657701095585</c:v>
                </c:pt>
                <c:pt idx="38">
                  <c:v>34.9823599303894</c:v>
                </c:pt>
                <c:pt idx="39">
                  <c:v>30.24907762193995</c:v>
                </c:pt>
                <c:pt idx="40">
                  <c:v>29.943920916258833</c:v>
                </c:pt>
                <c:pt idx="41">
                  <c:v>42.560977016535873</c:v>
                </c:pt>
                <c:pt idx="42">
                  <c:v>53.903752367814832</c:v>
                </c:pt>
                <c:pt idx="43">
                  <c:v>65.11909964419398</c:v>
                </c:pt>
                <c:pt idx="44">
                  <c:v>90.148656250829958</c:v>
                </c:pt>
                <c:pt idx="45">
                  <c:v>114.43879468600784</c:v>
                </c:pt>
                <c:pt idx="46">
                  <c:v>101.91898632710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K$2:$K$48</c:f>
              <c:numCache>
                <c:formatCode>General</c:formatCode>
                <c:ptCount val="47"/>
                <c:pt idx="0">
                  <c:v>151.54266440357495</c:v>
                </c:pt>
                <c:pt idx="1">
                  <c:v>92.604288068837732</c:v>
                </c:pt>
                <c:pt idx="2">
                  <c:v>78.949582610251511</c:v>
                </c:pt>
                <c:pt idx="3">
                  <c:v>84.855703337091285</c:v>
                </c:pt>
                <c:pt idx="4">
                  <c:v>91.549989221585577</c:v>
                </c:pt>
                <c:pt idx="5">
                  <c:v>114.36583514901338</c:v>
                </c:pt>
                <c:pt idx="6">
                  <c:v>171.08301876672419</c:v>
                </c:pt>
                <c:pt idx="7">
                  <c:v>280.19783150175351</c:v>
                </c:pt>
                <c:pt idx="8">
                  <c:v>366.36373146455622</c:v>
                </c:pt>
                <c:pt idx="9">
                  <c:v>567.89858586793252</c:v>
                </c:pt>
                <c:pt idx="10">
                  <c:v>577.72506056076827</c:v>
                </c:pt>
                <c:pt idx="11">
                  <c:v>619.03719791523145</c:v>
                </c:pt>
                <c:pt idx="12">
                  <c:v>499.06208346239112</c:v>
                </c:pt>
                <c:pt idx="13">
                  <c:v>362.47408523197544</c:v>
                </c:pt>
                <c:pt idx="14">
                  <c:v>286.11418813973165</c:v>
                </c:pt>
                <c:pt idx="15">
                  <c:v>187.14316334282748</c:v>
                </c:pt>
                <c:pt idx="16">
                  <c:v>130.15984603551902</c:v>
                </c:pt>
                <c:pt idx="17">
                  <c:v>84.702164670015719</c:v>
                </c:pt>
                <c:pt idx="18">
                  <c:v>63.431941324481862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04574838124185</c:v>
                </c:pt>
                <c:pt idx="38">
                  <c:v>37.013054676347657</c:v>
                </c:pt>
                <c:pt idx="39">
                  <c:v>46.89070892487517</c:v>
                </c:pt>
                <c:pt idx="40">
                  <c:v>70.955336011184158</c:v>
                </c:pt>
                <c:pt idx="41">
                  <c:v>144.56177300720628</c:v>
                </c:pt>
                <c:pt idx="42">
                  <c:v>246.85946892408086</c:v>
                </c:pt>
                <c:pt idx="43">
                  <c:v>362.02370514188715</c:v>
                </c:pt>
                <c:pt idx="44">
                  <c:v>520.46537365272377</c:v>
                </c:pt>
                <c:pt idx="45">
                  <c:v>663.8295450567407</c:v>
                </c:pt>
                <c:pt idx="46">
                  <c:v>726.96464495820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E$2:$E$48</c:f>
              <c:numCache>
                <c:formatCode>General</c:formatCode>
                <c:ptCount val="47"/>
                <c:pt idx="0">
                  <c:v>174.88367431050628</c:v>
                </c:pt>
                <c:pt idx="1">
                  <c:v>142.94180757009858</c:v>
                </c:pt>
                <c:pt idx="2">
                  <c:v>114.85605099857803</c:v>
                </c:pt>
                <c:pt idx="3">
                  <c:v>93.937825676429597</c:v>
                </c:pt>
                <c:pt idx="4">
                  <c:v>77.621201107736482</c:v>
                </c:pt>
                <c:pt idx="5">
                  <c:v>61.088143788684874</c:v>
                </c:pt>
                <c:pt idx="6">
                  <c:v>62.986739970996325</c:v>
                </c:pt>
                <c:pt idx="7">
                  <c:v>67.755474903895148</c:v>
                </c:pt>
                <c:pt idx="8">
                  <c:v>70.183128920416252</c:v>
                </c:pt>
                <c:pt idx="9">
                  <c:v>85.751858096203904</c:v>
                </c:pt>
                <c:pt idx="10">
                  <c:v>111.32579235939727</c:v>
                </c:pt>
                <c:pt idx="11">
                  <c:v>139.80954471074369</c:v>
                </c:pt>
                <c:pt idx="12">
                  <c:v>132.38229416094137</c:v>
                </c:pt>
                <c:pt idx="13">
                  <c:v>142.21315064389165</c:v>
                </c:pt>
                <c:pt idx="14">
                  <c:v>170.806321774586</c:v>
                </c:pt>
                <c:pt idx="15">
                  <c:v>174.04439620078278</c:v>
                </c:pt>
                <c:pt idx="16">
                  <c:v>150.05162341937509</c:v>
                </c:pt>
                <c:pt idx="17">
                  <c:v>121.41396333444038</c:v>
                </c:pt>
                <c:pt idx="18">
                  <c:v>85.132619949344885</c:v>
                </c:pt>
                <c:pt idx="19">
                  <c:v>63.360687667449056</c:v>
                </c:pt>
                <c:pt idx="20">
                  <c:v>35.926634155341311</c:v>
                </c:pt>
                <c:pt idx="21">
                  <c:v>24.868123016190939</c:v>
                </c:pt>
                <c:pt idx="22">
                  <c:v>16.876944911287882</c:v>
                </c:pt>
                <c:pt idx="23">
                  <c:v>8.7450855186518073</c:v>
                </c:pt>
                <c:pt idx="24">
                  <c:v>5.7991953054389755</c:v>
                </c:pt>
                <c:pt idx="25">
                  <c:v>4.2060097819667295</c:v>
                </c:pt>
                <c:pt idx="26">
                  <c:v>6.7034032402700161</c:v>
                </c:pt>
                <c:pt idx="27">
                  <c:v>10.944282743127836</c:v>
                </c:pt>
                <c:pt idx="28">
                  <c:v>15.182757437648341</c:v>
                </c:pt>
                <c:pt idx="29">
                  <c:v>18.640871826709606</c:v>
                </c:pt>
                <c:pt idx="30">
                  <c:v>24.5434738906532</c:v>
                </c:pt>
                <c:pt idx="31">
                  <c:v>38.545470434679089</c:v>
                </c:pt>
                <c:pt idx="32">
                  <c:v>59.662092444656139</c:v>
                </c:pt>
                <c:pt idx="33">
                  <c:v>79.767492548791537</c:v>
                </c:pt>
                <c:pt idx="34">
                  <c:v>89.793138507064441</c:v>
                </c:pt>
                <c:pt idx="35">
                  <c:v>86.165485130222365</c:v>
                </c:pt>
                <c:pt idx="36">
                  <c:v>73.884128951546501</c:v>
                </c:pt>
                <c:pt idx="37">
                  <c:v>64.453673056759456</c:v>
                </c:pt>
                <c:pt idx="38">
                  <c:v>67.892548979122182</c:v>
                </c:pt>
                <c:pt idx="39">
                  <c:v>69.685333594591711</c:v>
                </c:pt>
                <c:pt idx="40">
                  <c:v>78.462884025797294</c:v>
                </c:pt>
                <c:pt idx="41">
                  <c:v>117.17428623575121</c:v>
                </c:pt>
                <c:pt idx="42">
                  <c:v>164.52375999334637</c:v>
                </c:pt>
                <c:pt idx="43">
                  <c:v>213.61912460383337</c:v>
                </c:pt>
                <c:pt idx="44">
                  <c:v>325.67718110194357</c:v>
                </c:pt>
                <c:pt idx="45">
                  <c:v>421.38374331046953</c:v>
                </c:pt>
                <c:pt idx="46">
                  <c:v>473.53441691351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G$2:$G$48</c:f>
              <c:numCache>
                <c:formatCode>General</c:formatCode>
                <c:ptCount val="47"/>
                <c:pt idx="0">
                  <c:v>297.64036769029133</c:v>
                </c:pt>
                <c:pt idx="1">
                  <c:v>229.10702432301784</c:v>
                </c:pt>
                <c:pt idx="2">
                  <c:v>209.82232745093589</c:v>
                </c:pt>
                <c:pt idx="3">
                  <c:v>170.67272686015895</c:v>
                </c:pt>
                <c:pt idx="4">
                  <c:v>156.97754743119162</c:v>
                </c:pt>
                <c:pt idx="5">
                  <c:v>135.22840761656485</c:v>
                </c:pt>
                <c:pt idx="6">
                  <c:v>157.06946138709074</c:v>
                </c:pt>
                <c:pt idx="7">
                  <c:v>183.75323170905097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743878315114</c:v>
                </c:pt>
                <c:pt idx="12">
                  <c:v>285.83516897949943</c:v>
                </c:pt>
                <c:pt idx="13">
                  <c:v>278.52226486327658</c:v>
                </c:pt>
                <c:pt idx="14">
                  <c:v>305.49326629742148</c:v>
                </c:pt>
                <c:pt idx="15">
                  <c:v>329.43685180913951</c:v>
                </c:pt>
                <c:pt idx="16">
                  <c:v>266.96982953120727</c:v>
                </c:pt>
                <c:pt idx="17">
                  <c:v>301.38011677093635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96126315051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6643132864209</c:v>
                </c:pt>
                <c:pt idx="27">
                  <c:v>402.75546550541037</c:v>
                </c:pt>
                <c:pt idx="28">
                  <c:v>258.37587465464048</c:v>
                </c:pt>
                <c:pt idx="29">
                  <c:v>140.14580425716721</c:v>
                </c:pt>
                <c:pt idx="30">
                  <c:v>103.61000678727119</c:v>
                </c:pt>
                <c:pt idx="31">
                  <c:v>92.563098212646949</c:v>
                </c:pt>
                <c:pt idx="32">
                  <c:v>97.187519118820902</c:v>
                </c:pt>
                <c:pt idx="33">
                  <c:v>102.42661460507016</c:v>
                </c:pt>
                <c:pt idx="34">
                  <c:v>101.43853957915471</c:v>
                </c:pt>
                <c:pt idx="35">
                  <c:v>96.027105425594641</c:v>
                </c:pt>
                <c:pt idx="36">
                  <c:v>80.556837723325771</c:v>
                </c:pt>
                <c:pt idx="37">
                  <c:v>66.71229811602241</c:v>
                </c:pt>
                <c:pt idx="38">
                  <c:v>66.310174558963809</c:v>
                </c:pt>
                <c:pt idx="39">
                  <c:v>92.677990657520837</c:v>
                </c:pt>
                <c:pt idx="40">
                  <c:v>135.17670601637161</c:v>
                </c:pt>
                <c:pt idx="41">
                  <c:v>200.13689434806724</c:v>
                </c:pt>
                <c:pt idx="42">
                  <c:v>284.20369626229024</c:v>
                </c:pt>
                <c:pt idx="43">
                  <c:v>396.00553436906955</c:v>
                </c:pt>
                <c:pt idx="44">
                  <c:v>540.13810646336071</c:v>
                </c:pt>
                <c:pt idx="45">
                  <c:v>845.5337141826393</c:v>
                </c:pt>
                <c:pt idx="46">
                  <c:v>904.32417822460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J$2:$J$48</c:f>
              <c:numCache>
                <c:formatCode>General</c:formatCode>
                <c:ptCount val="47"/>
                <c:pt idx="0">
                  <c:v>177.08719010400353</c:v>
                </c:pt>
                <c:pt idx="1">
                  <c:v>127.97782652036304</c:v>
                </c:pt>
                <c:pt idx="2">
                  <c:v>102.60777280487257</c:v>
                </c:pt>
                <c:pt idx="3">
                  <c:v>99.48591261246797</c:v>
                </c:pt>
                <c:pt idx="4">
                  <c:v>96.933100353868781</c:v>
                </c:pt>
                <c:pt idx="5">
                  <c:v>102.25475232741921</c:v>
                </c:pt>
                <c:pt idx="6">
                  <c:v>134.76425002722738</c:v>
                </c:pt>
                <c:pt idx="7">
                  <c:v>182.10324226125107</c:v>
                </c:pt>
                <c:pt idx="8">
                  <c:v>235.57267218955786</c:v>
                </c:pt>
                <c:pt idx="9">
                  <c:v>308.46876630249881</c:v>
                </c:pt>
                <c:pt idx="10">
                  <c:v>409.79881573748429</c:v>
                </c:pt>
                <c:pt idx="11">
                  <c:v>511.10515484189449</c:v>
                </c:pt>
                <c:pt idx="12">
                  <c:v>475.56073482845761</c:v>
                </c:pt>
                <c:pt idx="13">
                  <c:v>363.9377674426496</c:v>
                </c:pt>
                <c:pt idx="14">
                  <c:v>286.40762094283969</c:v>
                </c:pt>
                <c:pt idx="15">
                  <c:v>176.51814217019813</c:v>
                </c:pt>
                <c:pt idx="16">
                  <c:v>114.43395879955965</c:v>
                </c:pt>
                <c:pt idx="17">
                  <c:v>77.274601825832448</c:v>
                </c:pt>
                <c:pt idx="18">
                  <c:v>54.109608853837884</c:v>
                </c:pt>
                <c:pt idx="19">
                  <c:v>28.974023962924633</c:v>
                </c:pt>
                <c:pt idx="20">
                  <c:v>16.128293753502874</c:v>
                </c:pt>
                <c:pt idx="21">
                  <c:v>8.0509744708763105</c:v>
                </c:pt>
                <c:pt idx="22">
                  <c:v>5.6377897145534375</c:v>
                </c:pt>
                <c:pt idx="23">
                  <c:v>3.2246049582305645</c:v>
                </c:pt>
                <c:pt idx="24">
                  <c:v>2.2287710740711253</c:v>
                </c:pt>
                <c:pt idx="25">
                  <c:v>1.630743847340457</c:v>
                </c:pt>
                <c:pt idx="26">
                  <c:v>1.4753094580139838</c:v>
                </c:pt>
                <c:pt idx="27">
                  <c:v>1.6570886590907066</c:v>
                </c:pt>
                <c:pt idx="28">
                  <c:v>1.9442471071684286</c:v>
                </c:pt>
                <c:pt idx="29">
                  <c:v>2.3604951328223742</c:v>
                </c:pt>
                <c:pt idx="30">
                  <c:v>2.7451293843760198</c:v>
                </c:pt>
                <c:pt idx="31">
                  <c:v>3.4274600087074871</c:v>
                </c:pt>
                <c:pt idx="32">
                  <c:v>3.5565495862837109</c:v>
                </c:pt>
                <c:pt idx="33">
                  <c:v>4.2467836541402537</c:v>
                </c:pt>
                <c:pt idx="34">
                  <c:v>6.014520522582008</c:v>
                </c:pt>
                <c:pt idx="35">
                  <c:v>8.5646983000061798</c:v>
                </c:pt>
                <c:pt idx="36">
                  <c:v>11.539027546609372</c:v>
                </c:pt>
                <c:pt idx="37">
                  <c:v>14.115550135783794</c:v>
                </c:pt>
                <c:pt idx="38">
                  <c:v>20.801863357997171</c:v>
                </c:pt>
                <c:pt idx="39">
                  <c:v>30.970960693593558</c:v>
                </c:pt>
                <c:pt idx="40">
                  <c:v>46.946454538944984</c:v>
                </c:pt>
                <c:pt idx="41">
                  <c:v>91.564027719167896</c:v>
                </c:pt>
                <c:pt idx="42">
                  <c:v>142.98646577448031</c:v>
                </c:pt>
                <c:pt idx="43">
                  <c:v>214.39934698588218</c:v>
                </c:pt>
                <c:pt idx="44">
                  <c:v>269.99743770360914</c:v>
                </c:pt>
                <c:pt idx="45">
                  <c:v>378.62763447458883</c:v>
                </c:pt>
                <c:pt idx="46">
                  <c:v>430.01845875580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B$2:$B$48</c:f>
              <c:numCache>
                <c:formatCode>General</c:formatCode>
                <c:ptCount val="47"/>
                <c:pt idx="0">
                  <c:v>164.41854591765659</c:v>
                </c:pt>
                <c:pt idx="1">
                  <c:v>122.99653165059817</c:v>
                </c:pt>
                <c:pt idx="2">
                  <c:v>114.15489204436683</c:v>
                </c:pt>
                <c:pt idx="3">
                  <c:v>106.84115966360875</c:v>
                </c:pt>
                <c:pt idx="4">
                  <c:v>102.41472255451708</c:v>
                </c:pt>
                <c:pt idx="5">
                  <c:v>106.32436751381633</c:v>
                </c:pt>
                <c:pt idx="6">
                  <c:v>130.73717928553259</c:v>
                </c:pt>
                <c:pt idx="7">
                  <c:v>159.56519355438857</c:v>
                </c:pt>
                <c:pt idx="8">
                  <c:v>183.56232468388049</c:v>
                </c:pt>
                <c:pt idx="9">
                  <c:v>204.81821049708216</c:v>
                </c:pt>
                <c:pt idx="10">
                  <c:v>236.97166990373285</c:v>
                </c:pt>
                <c:pt idx="11">
                  <c:v>250.74530415689628</c:v>
                </c:pt>
                <c:pt idx="12">
                  <c:v>233.52264403446597</c:v>
                </c:pt>
                <c:pt idx="13">
                  <c:v>197.81904725098033</c:v>
                </c:pt>
                <c:pt idx="14">
                  <c:v>188.95493842084497</c:v>
                </c:pt>
                <c:pt idx="15">
                  <c:v>169.04720604188444</c:v>
                </c:pt>
                <c:pt idx="16">
                  <c:v>140.80339159453297</c:v>
                </c:pt>
                <c:pt idx="17">
                  <c:v>101.31373058322016</c:v>
                </c:pt>
                <c:pt idx="18">
                  <c:v>64.396795708917494</c:v>
                </c:pt>
                <c:pt idx="19">
                  <c:v>46.679812660598778</c:v>
                </c:pt>
                <c:pt idx="20">
                  <c:v>35.490139156397483</c:v>
                </c:pt>
                <c:pt idx="21">
                  <c:v>27.232699371670623</c:v>
                </c:pt>
                <c:pt idx="22">
                  <c:v>18.907851915231706</c:v>
                </c:pt>
                <c:pt idx="23">
                  <c:v>11.257081175913353</c:v>
                </c:pt>
                <c:pt idx="24">
                  <c:v>7.6283015154143374</c:v>
                </c:pt>
                <c:pt idx="25">
                  <c:v>7.1115093656219077</c:v>
                </c:pt>
                <c:pt idx="26">
                  <c:v>12.268196251594192</c:v>
                </c:pt>
                <c:pt idx="27">
                  <c:v>24.626269398804457</c:v>
                </c:pt>
                <c:pt idx="28">
                  <c:v>28.434802850535618</c:v>
                </c:pt>
                <c:pt idx="29">
                  <c:v>36.523723455982342</c:v>
                </c:pt>
                <c:pt idx="30">
                  <c:v>41.186087416066215</c:v>
                </c:pt>
                <c:pt idx="31">
                  <c:v>66.239272069047018</c:v>
                </c:pt>
                <c:pt idx="32">
                  <c:v>90.573441557099244</c:v>
                </c:pt>
                <c:pt idx="33">
                  <c:v>106.03226760306408</c:v>
                </c:pt>
                <c:pt idx="34">
                  <c:v>127.06346117722556</c:v>
                </c:pt>
                <c:pt idx="35">
                  <c:v>157.9249402093952</c:v>
                </c:pt>
                <c:pt idx="36">
                  <c:v>154.37480283256025</c:v>
                </c:pt>
                <c:pt idx="37">
                  <c:v>132.04039427196568</c:v>
                </c:pt>
                <c:pt idx="38">
                  <c:v>141.48870292360553</c:v>
                </c:pt>
                <c:pt idx="39">
                  <c:v>143.64574841839135</c:v>
                </c:pt>
                <c:pt idx="40">
                  <c:v>172.59734341871939</c:v>
                </c:pt>
                <c:pt idx="41">
                  <c:v>268.19265651836679</c:v>
                </c:pt>
                <c:pt idx="42">
                  <c:v>388.93103116661109</c:v>
                </c:pt>
                <c:pt idx="43">
                  <c:v>636.1823710064325</c:v>
                </c:pt>
                <c:pt idx="44">
                  <c:v>888.48928622465814</c:v>
                </c:pt>
                <c:pt idx="45">
                  <c:v>1098.1720836969603</c:v>
                </c:pt>
                <c:pt idx="46">
                  <c:v>936.09033706532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L$2:$L$48</c:f>
              <c:numCache>
                <c:formatCode>General</c:formatCode>
                <c:ptCount val="47"/>
                <c:pt idx="0">
                  <c:v>785.80062233034732</c:v>
                </c:pt>
                <c:pt idx="1">
                  <c:v>569.63582699707376</c:v>
                </c:pt>
                <c:pt idx="2">
                  <c:v>665.42405805338456</c:v>
                </c:pt>
                <c:pt idx="3">
                  <c:v>620.40652100186287</c:v>
                </c:pt>
                <c:pt idx="4">
                  <c:v>704.30367287769434</c:v>
                </c:pt>
                <c:pt idx="5">
                  <c:v>673.54077311802598</c:v>
                </c:pt>
                <c:pt idx="6">
                  <c:v>708.05971483763005</c:v>
                </c:pt>
                <c:pt idx="7">
                  <c:v>666.13862213356742</c:v>
                </c:pt>
                <c:pt idx="8">
                  <c:v>628.50491391060223</c:v>
                </c:pt>
                <c:pt idx="9">
                  <c:v>537.29722182982266</c:v>
                </c:pt>
                <c:pt idx="10">
                  <c:v>440.99597040825245</c:v>
                </c:pt>
                <c:pt idx="11">
                  <c:v>361.25794792220341</c:v>
                </c:pt>
                <c:pt idx="12">
                  <c:v>254.03669158296648</c:v>
                </c:pt>
                <c:pt idx="13">
                  <c:v>248.00870229116728</c:v>
                </c:pt>
                <c:pt idx="14">
                  <c:v>183.66129076290343</c:v>
                </c:pt>
                <c:pt idx="15">
                  <c:v>157.22241979613671</c:v>
                </c:pt>
                <c:pt idx="16">
                  <c:v>128.0535475999533</c:v>
                </c:pt>
                <c:pt idx="17">
                  <c:v>95.916486147625648</c:v>
                </c:pt>
                <c:pt idx="18">
                  <c:v>68.946272659697286</c:v>
                </c:pt>
                <c:pt idx="19">
                  <c:v>46.666531082712993</c:v>
                </c:pt>
                <c:pt idx="20">
                  <c:v>36.864177675075986</c:v>
                </c:pt>
                <c:pt idx="21">
                  <c:v>27.666455412209114</c:v>
                </c:pt>
                <c:pt idx="22">
                  <c:v>18.926787046895374</c:v>
                </c:pt>
                <c:pt idx="23">
                  <c:v>11.066582164883647</c:v>
                </c:pt>
                <c:pt idx="24">
                  <c:v>8.135037220543607</c:v>
                </c:pt>
                <c:pt idx="25">
                  <c:v>4.3789952606079332</c:v>
                </c:pt>
                <c:pt idx="26">
                  <c:v>5.5332910824418233</c:v>
                </c:pt>
                <c:pt idx="27">
                  <c:v>4.8004048463568134</c:v>
                </c:pt>
                <c:pt idx="28">
                  <c:v>6.8158419955905902</c:v>
                </c:pt>
                <c:pt idx="29">
                  <c:v>8.7763126771179909</c:v>
                </c:pt>
                <c:pt idx="30">
                  <c:v>9.7473869399306281</c:v>
                </c:pt>
                <c:pt idx="31">
                  <c:v>11.854434868675032</c:v>
                </c:pt>
                <c:pt idx="32">
                  <c:v>16.068530726163836</c:v>
                </c:pt>
                <c:pt idx="33">
                  <c:v>20.209337960044142</c:v>
                </c:pt>
                <c:pt idx="34">
                  <c:v>43.625053202960203</c:v>
                </c:pt>
                <c:pt idx="35">
                  <c:v>73.380234388011601</c:v>
                </c:pt>
                <c:pt idx="36">
                  <c:v>116.58387800522291</c:v>
                </c:pt>
                <c:pt idx="37">
                  <c:v>150.49818858005673</c:v>
                </c:pt>
                <c:pt idx="38">
                  <c:v>196.19364539995712</c:v>
                </c:pt>
                <c:pt idx="39">
                  <c:v>242.76856570315945</c:v>
                </c:pt>
                <c:pt idx="40">
                  <c:v>304.78906343185338</c:v>
                </c:pt>
                <c:pt idx="41">
                  <c:v>502.32022621266566</c:v>
                </c:pt>
                <c:pt idx="42">
                  <c:v>669.63815391087337</c:v>
                </c:pt>
                <c:pt idx="43">
                  <c:v>997.3482343762854</c:v>
                </c:pt>
                <c:pt idx="44">
                  <c:v>1131.5030598916464</c:v>
                </c:pt>
                <c:pt idx="45">
                  <c:v>1327.165362770442</c:v>
                </c:pt>
                <c:pt idx="46">
                  <c:v>1206.6055769344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8</c:f>
              <c:numCache>
                <c:formatCode>General</c:formatCode>
                <c:ptCount val="47"/>
                <c:pt idx="0">
                  <c:v>337.50512912724406</c:v>
                </c:pt>
                <c:pt idx="1">
                  <c:v>493.28777827482753</c:v>
                </c:pt>
                <c:pt idx="2">
                  <c:v>515.62755439621401</c:v>
                </c:pt>
                <c:pt idx="3">
                  <c:v>425.78463974121519</c:v>
                </c:pt>
                <c:pt idx="4">
                  <c:v>274.51896064730335</c:v>
                </c:pt>
                <c:pt idx="5">
                  <c:v>159.16298220926484</c:v>
                </c:pt>
                <c:pt idx="6">
                  <c:v>105.98823044085417</c:v>
                </c:pt>
                <c:pt idx="7">
                  <c:v>81.956175080463552</c:v>
                </c:pt>
                <c:pt idx="8">
                  <c:v>70.733469315681575</c:v>
                </c:pt>
                <c:pt idx="9">
                  <c:v>68.278502429635523</c:v>
                </c:pt>
                <c:pt idx="10">
                  <c:v>71.52362216884957</c:v>
                </c:pt>
                <c:pt idx="11">
                  <c:v>89.921084857050147</c:v>
                </c:pt>
                <c:pt idx="12">
                  <c:v>90.977438938825557</c:v>
                </c:pt>
                <c:pt idx="13">
                  <c:v>126.34417359666634</c:v>
                </c:pt>
                <c:pt idx="14">
                  <c:v>124.30329751067624</c:v>
                </c:pt>
                <c:pt idx="15">
                  <c:v>122.76947138393835</c:v>
                </c:pt>
                <c:pt idx="16">
                  <c:v>112.79960156014201</c:v>
                </c:pt>
                <c:pt idx="17">
                  <c:v>88.96191535079808</c:v>
                </c:pt>
                <c:pt idx="18">
                  <c:v>73.577174503820984</c:v>
                </c:pt>
                <c:pt idx="19">
                  <c:v>68.715833019490532</c:v>
                </c:pt>
                <c:pt idx="20">
                  <c:v>65.41155745169705</c:v>
                </c:pt>
                <c:pt idx="21">
                  <c:v>60.157252248946151</c:v>
                </c:pt>
                <c:pt idx="22">
                  <c:v>51.46134544777096</c:v>
                </c:pt>
                <c:pt idx="23">
                  <c:v>50.062732643500318</c:v>
                </c:pt>
                <c:pt idx="24">
                  <c:v>62.958703273814542</c:v>
                </c:pt>
                <c:pt idx="25">
                  <c:v>166.22787830817879</c:v>
                </c:pt>
                <c:pt idx="26">
                  <c:v>284.2078402853474</c:v>
                </c:pt>
                <c:pt idx="27">
                  <c:v>371.89790532168792</c:v>
                </c:pt>
                <c:pt idx="28">
                  <c:v>391.57778186516384</c:v>
                </c:pt>
                <c:pt idx="29">
                  <c:v>331.50715065092328</c:v>
                </c:pt>
                <c:pt idx="30">
                  <c:v>250.6094423603987</c:v>
                </c:pt>
                <c:pt idx="31">
                  <c:v>190.54303656248524</c:v>
                </c:pt>
                <c:pt idx="32">
                  <c:v>144.03176634191385</c:v>
                </c:pt>
                <c:pt idx="33">
                  <c:v>108.57841064936748</c:v>
                </c:pt>
                <c:pt idx="34">
                  <c:v>71.800386938274741</c:v>
                </c:pt>
                <c:pt idx="35">
                  <c:v>49.029618351523965</c:v>
                </c:pt>
                <c:pt idx="36">
                  <c:v>37.665361139784082</c:v>
                </c:pt>
                <c:pt idx="37">
                  <c:v>30.640606495977597</c:v>
                </c:pt>
                <c:pt idx="38">
                  <c:v>25.810955634100409</c:v>
                </c:pt>
                <c:pt idx="39">
                  <c:v>22.088363849923859</c:v>
                </c:pt>
                <c:pt idx="40">
                  <c:v>22.54682152141439</c:v>
                </c:pt>
                <c:pt idx="41">
                  <c:v>25.965183330039618</c:v>
                </c:pt>
                <c:pt idx="42">
                  <c:v>28.037750038482976</c:v>
                </c:pt>
                <c:pt idx="43">
                  <c:v>33.625863131074908</c:v>
                </c:pt>
                <c:pt idx="44">
                  <c:v>53.419825915382575</c:v>
                </c:pt>
                <c:pt idx="45">
                  <c:v>85.414678344196247</c:v>
                </c:pt>
                <c:pt idx="46">
                  <c:v>114.0249722950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H$2:$H$48</c:f>
              <c:numCache>
                <c:formatCode>General</c:formatCode>
                <c:ptCount val="47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  <c:pt idx="41">
                  <c:v>476.79937292850559</c:v>
                </c:pt>
                <c:pt idx="42">
                  <c:v>459.33827401327562</c:v>
                </c:pt>
                <c:pt idx="43">
                  <c:v>316.79464297481763</c:v>
                </c:pt>
                <c:pt idx="44">
                  <c:v>380.82650856937516</c:v>
                </c:pt>
                <c:pt idx="45">
                  <c:v>417.85714437891244</c:v>
                </c:pt>
                <c:pt idx="46">
                  <c:v>442.87923412364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45. vs. 44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Švédsko</c:v>
                </c:pt>
                <c:pt idx="1">
                  <c:v>Francie</c:v>
                </c:pt>
                <c:pt idx="2">
                  <c:v>Portugalsko</c:v>
                </c:pt>
                <c:pt idx="3">
                  <c:v>Španělsko</c:v>
                </c:pt>
                <c:pt idx="4">
                  <c:v>Norsko</c:v>
                </c:pt>
                <c:pt idx="5">
                  <c:v>Česká republika</c:v>
                </c:pt>
                <c:pt idx="6">
                  <c:v>Kypr</c:v>
                </c:pt>
                <c:pt idx="7">
                  <c:v>Polsko</c:v>
                </c:pt>
                <c:pt idx="8">
                  <c:v>Německo</c:v>
                </c:pt>
                <c:pt idx="9">
                  <c:v>Belgie</c:v>
                </c:pt>
                <c:pt idx="10">
                  <c:v>Lucembursko</c:v>
                </c:pt>
                <c:pt idx="11">
                  <c:v>Maďarsko</c:v>
                </c:pt>
                <c:pt idx="12">
                  <c:v>Lotyšsko</c:v>
                </c:pt>
                <c:pt idx="13">
                  <c:v>Malta</c:v>
                </c:pt>
                <c:pt idx="14">
                  <c:v>Nizozemsko</c:v>
                </c:pt>
                <c:pt idx="15">
                  <c:v>Velká Británie</c:v>
                </c:pt>
                <c:pt idx="16">
                  <c:v>Chorvatsko</c:v>
                </c:pt>
                <c:pt idx="17">
                  <c:v>Finsko</c:v>
                </c:pt>
                <c:pt idx="18">
                  <c:v>Litva</c:v>
                </c:pt>
                <c:pt idx="19">
                  <c:v>Řecko</c:v>
                </c:pt>
                <c:pt idx="20">
                  <c:v>Irsko</c:v>
                </c:pt>
                <c:pt idx="21">
                  <c:v>Island</c:v>
                </c:pt>
                <c:pt idx="22">
                  <c:v>Slovensko</c:v>
                </c:pt>
                <c:pt idx="23">
                  <c:v>Bulharsko</c:v>
                </c:pt>
                <c:pt idx="24">
                  <c:v>Lichtenštejnsko</c:v>
                </c:pt>
                <c:pt idx="25">
                  <c:v>Itálie</c:v>
                </c:pt>
                <c:pt idx="26">
                  <c:v>Dánsko</c:v>
                </c:pt>
                <c:pt idx="27">
                  <c:v>Rakousko</c:v>
                </c:pt>
                <c:pt idx="28">
                  <c:v>Estonsko</c:v>
                </c:pt>
                <c:pt idx="29">
                  <c:v>Slovinsko</c:v>
                </c:pt>
                <c:pt idx="30">
                  <c:v>Rumu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1506226526981618</c:v>
                </c:pt>
                <c:pt idx="1">
                  <c:v>1.3735164634517458</c:v>
                </c:pt>
                <c:pt idx="2">
                  <c:v>1.4814228110599079</c:v>
                </c:pt>
                <c:pt idx="3">
                  <c:v>1.5886529278713244</c:v>
                </c:pt>
                <c:pt idx="4">
                  <c:v>1.2022174753331298</c:v>
                </c:pt>
                <c:pt idx="5">
                  <c:v>1.4379851486074482</c:v>
                </c:pt>
                <c:pt idx="6">
                  <c:v>1.2019844082211197</c:v>
                </c:pt>
                <c:pt idx="7">
                  <c:v>1.2593202428055343</c:v>
                </c:pt>
                <c:pt idx="8">
                  <c:v>1.5245694022289766</c:v>
                </c:pt>
                <c:pt idx="9">
                  <c:v>1.2731960546807406</c:v>
                </c:pt>
                <c:pt idx="10">
                  <c:v>1.2022873481057899</c:v>
                </c:pt>
                <c:pt idx="11">
                  <c:v>1.4376555078036644</c:v>
                </c:pt>
                <c:pt idx="12">
                  <c:v>0.671344107213244</c:v>
                </c:pt>
                <c:pt idx="13">
                  <c:v>1.2509652509652509</c:v>
                </c:pt>
                <c:pt idx="14">
                  <c:v>1.3639660549793284</c:v>
                </c:pt>
                <c:pt idx="15">
                  <c:v>1.2021242057418486</c:v>
                </c:pt>
                <c:pt idx="16">
                  <c:v>1.2001286380447018</c:v>
                </c:pt>
                <c:pt idx="17">
                  <c:v>1.1569778821687218</c:v>
                </c:pt>
                <c:pt idx="18">
                  <c:v>0.87422634836427937</c:v>
                </c:pt>
                <c:pt idx="19">
                  <c:v>1.0693562905347704</c:v>
                </c:pt>
                <c:pt idx="20">
                  <c:v>1.1101403332431283</c:v>
                </c:pt>
                <c:pt idx="21">
                  <c:v>1.4207980652962515</c:v>
                </c:pt>
                <c:pt idx="22">
                  <c:v>1.1345115185362089</c:v>
                </c:pt>
                <c:pt idx="23">
                  <c:v>0.76508811656985332</c:v>
                </c:pt>
                <c:pt idx="24">
                  <c:v>1.5578947368421052</c:v>
                </c:pt>
                <c:pt idx="25">
                  <c:v>1.3843658272825583</c:v>
                </c:pt>
                <c:pt idx="26">
                  <c:v>1.4208252457579362</c:v>
                </c:pt>
                <c:pt idx="27">
                  <c:v>1.396595263743444</c:v>
                </c:pt>
                <c:pt idx="28">
                  <c:v>0.64051042757832588</c:v>
                </c:pt>
                <c:pt idx="29">
                  <c:v>1.1250371839365394</c:v>
                </c:pt>
                <c:pt idx="30">
                  <c:v>0.58399280245304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47. vs. 46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Švédsko</c:v>
                </c:pt>
                <c:pt idx="1">
                  <c:v>Francie</c:v>
                </c:pt>
                <c:pt idx="2">
                  <c:v>Portugalsko</c:v>
                </c:pt>
                <c:pt idx="3">
                  <c:v>Španělsko</c:v>
                </c:pt>
                <c:pt idx="4">
                  <c:v>Norsko</c:v>
                </c:pt>
                <c:pt idx="5">
                  <c:v>Česká republika</c:v>
                </c:pt>
                <c:pt idx="6">
                  <c:v>Kypr</c:v>
                </c:pt>
                <c:pt idx="7">
                  <c:v>Polsko</c:v>
                </c:pt>
                <c:pt idx="8">
                  <c:v>Německo</c:v>
                </c:pt>
                <c:pt idx="9">
                  <c:v>Belgie</c:v>
                </c:pt>
                <c:pt idx="10">
                  <c:v>Lucembursko</c:v>
                </c:pt>
                <c:pt idx="11">
                  <c:v>Maďarsko</c:v>
                </c:pt>
                <c:pt idx="12">
                  <c:v>Lotyšsko</c:v>
                </c:pt>
                <c:pt idx="13">
                  <c:v>Malta</c:v>
                </c:pt>
                <c:pt idx="14">
                  <c:v>Nizozemsko</c:v>
                </c:pt>
                <c:pt idx="15">
                  <c:v>Velká Británie</c:v>
                </c:pt>
                <c:pt idx="16">
                  <c:v>Chorvatsko</c:v>
                </c:pt>
                <c:pt idx="17">
                  <c:v>Finsko</c:v>
                </c:pt>
                <c:pt idx="18">
                  <c:v>Litva</c:v>
                </c:pt>
                <c:pt idx="19">
                  <c:v>Řecko</c:v>
                </c:pt>
                <c:pt idx="20">
                  <c:v>Irsko</c:v>
                </c:pt>
                <c:pt idx="21">
                  <c:v>Island</c:v>
                </c:pt>
                <c:pt idx="22">
                  <c:v>Slovensko</c:v>
                </c:pt>
                <c:pt idx="23">
                  <c:v>Bulharsko</c:v>
                </c:pt>
                <c:pt idx="24">
                  <c:v>Lichtenštejnsko</c:v>
                </c:pt>
                <c:pt idx="25">
                  <c:v>Itálie</c:v>
                </c:pt>
                <c:pt idx="26">
                  <c:v>Dánsko</c:v>
                </c:pt>
                <c:pt idx="27">
                  <c:v>Rakousko</c:v>
                </c:pt>
                <c:pt idx="28">
                  <c:v>Estonsko</c:v>
                </c:pt>
                <c:pt idx="29">
                  <c:v>Slovinsko</c:v>
                </c:pt>
                <c:pt idx="30">
                  <c:v>Rumu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6809020436927413</c:v>
                </c:pt>
                <c:pt idx="1">
                  <c:v>1.6118482710994919</c:v>
                </c:pt>
                <c:pt idx="2">
                  <c:v>1.3499048993244573</c:v>
                </c:pt>
                <c:pt idx="3">
                  <c:v>1.3349575799549829</c:v>
                </c:pt>
                <c:pt idx="4">
                  <c:v>1.2339137532308528</c:v>
                </c:pt>
                <c:pt idx="5">
                  <c:v>1.1984986245162494</c:v>
                </c:pt>
                <c:pt idx="6">
                  <c:v>1.1559633027522935</c:v>
                </c:pt>
                <c:pt idx="7">
                  <c:v>1.1357291956582243</c:v>
                </c:pt>
                <c:pt idx="8">
                  <c:v>1.1237605257225689</c:v>
                </c:pt>
                <c:pt idx="9">
                  <c:v>1.1076237158634628</c:v>
                </c:pt>
                <c:pt idx="10">
                  <c:v>1.1074264362447455</c:v>
                </c:pt>
                <c:pt idx="11">
                  <c:v>1.0951073967279847</c:v>
                </c:pt>
                <c:pt idx="12">
                  <c:v>1.0902008310249307</c:v>
                </c:pt>
                <c:pt idx="13">
                  <c:v>1.071290944123314</c:v>
                </c:pt>
                <c:pt idx="14">
                  <c:v>1.0695305971315401</c:v>
                </c:pt>
                <c:pt idx="15">
                  <c:v>1.0598819239573407</c:v>
                </c:pt>
                <c:pt idx="16">
                  <c:v>1.0257699560025142</c:v>
                </c:pt>
                <c:pt idx="17">
                  <c:v>1.0184281842818428</c:v>
                </c:pt>
                <c:pt idx="18">
                  <c:v>0.9810802069857697</c:v>
                </c:pt>
                <c:pt idx="19">
                  <c:v>0.96064404535650982</c:v>
                </c:pt>
                <c:pt idx="20">
                  <c:v>0.95162873152046601</c:v>
                </c:pt>
                <c:pt idx="21">
                  <c:v>0.92155009451795844</c:v>
                </c:pt>
                <c:pt idx="22">
                  <c:v>0.90915993649478843</c:v>
                </c:pt>
                <c:pt idx="23">
                  <c:v>0.9062359043752819</c:v>
                </c:pt>
                <c:pt idx="24">
                  <c:v>0.89795918367346939</c:v>
                </c:pt>
                <c:pt idx="25">
                  <c:v>0.89059821546305662</c:v>
                </c:pt>
                <c:pt idx="26">
                  <c:v>0.88503045197136443</c:v>
                </c:pt>
                <c:pt idx="27">
                  <c:v>0.85240769726544519</c:v>
                </c:pt>
                <c:pt idx="28">
                  <c:v>0.78691372321945574</c:v>
                </c:pt>
                <c:pt idx="29">
                  <c:v>0.73768712405589976</c:v>
                </c:pt>
                <c:pt idx="30">
                  <c:v>0.679753047332594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0</c:f>
              <c:strCache>
                <c:ptCount val="29"/>
                <c:pt idx="0">
                  <c:v>Kypr</c:v>
                </c:pt>
                <c:pt idx="1">
                  <c:v>Rakousko</c:v>
                </c:pt>
                <c:pt idx="2">
                  <c:v>Dánsko</c:v>
                </c:pt>
                <c:pt idx="3">
                  <c:v>Řecko</c:v>
                </c:pt>
                <c:pt idx="4">
                  <c:v>Lucembursko</c:v>
                </c:pt>
                <c:pt idx="5">
                  <c:v>Slovin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Lotyšsko</c:v>
                </c:pt>
                <c:pt idx="9">
                  <c:v>Malta</c:v>
                </c:pt>
                <c:pt idx="10">
                  <c:v>Francie</c:v>
                </c:pt>
                <c:pt idx="11">
                  <c:v>Litva</c:v>
                </c:pt>
                <c:pt idx="12">
                  <c:v>Norsko</c:v>
                </c:pt>
                <c:pt idx="13">
                  <c:v>Belgie</c:v>
                </c:pt>
                <c:pt idx="14">
                  <c:v>Portugalsko</c:v>
                </c:pt>
                <c:pt idx="15">
                  <c:v>Slovensko</c:v>
                </c:pt>
                <c:pt idx="16">
                  <c:v>Itálie</c:v>
                </c:pt>
                <c:pt idx="17">
                  <c:v>Nizozemsko</c:v>
                </c:pt>
                <c:pt idx="18">
                  <c:v>Irsko</c:v>
                </c:pt>
                <c:pt idx="19">
                  <c:v>Estonsko</c:v>
                </c:pt>
                <c:pt idx="20">
                  <c:v>Finsko</c:v>
                </c:pt>
                <c:pt idx="21">
                  <c:v>Švédsko</c:v>
                </c:pt>
                <c:pt idx="22">
                  <c:v>Španělsko</c:v>
                </c:pt>
                <c:pt idx="23">
                  <c:v>Chorvatsko</c:v>
                </c:pt>
                <c:pt idx="24">
                  <c:v>Německo</c:v>
                </c:pt>
                <c:pt idx="25">
                  <c:v>Bulharsko</c:v>
                </c:pt>
                <c:pt idx="26">
                  <c:v>Maďarsko</c:v>
                </c:pt>
                <c:pt idx="27">
                  <c:v>Rumunsko</c:v>
                </c:pt>
                <c:pt idx="28">
                  <c:v>Polsko</c:v>
                </c:pt>
              </c:strCache>
            </c:strRef>
          </c:cat>
          <c:val>
            <c:numRef>
              <c:f>List1!$B$2:$B$30</c:f>
              <c:numCache>
                <c:formatCode>0</c:formatCode>
                <c:ptCount val="29"/>
                <c:pt idx="0" formatCode="General">
                  <c:v>1735657.119047753</c:v>
                </c:pt>
                <c:pt idx="1">
                  <c:v>1698258.4553936473</c:v>
                </c:pt>
                <c:pt idx="2">
                  <c:v>1571679.1495721189</c:v>
                </c:pt>
                <c:pt idx="3" formatCode="General">
                  <c:v>805553.29934557469</c:v>
                </c:pt>
                <c:pt idx="4" formatCode="General">
                  <c:v>588565.07184064086</c:v>
                </c:pt>
                <c:pt idx="5" formatCode="General">
                  <c:v>483239.91905951774</c:v>
                </c:pt>
                <c:pt idx="6" formatCode="General">
                  <c:v>407243.08414327027</c:v>
                </c:pt>
                <c:pt idx="7" formatCode="General">
                  <c:v>336561.26590760541</c:v>
                </c:pt>
                <c:pt idx="8" formatCode="General">
                  <c:v>276014.15335421386</c:v>
                </c:pt>
                <c:pt idx="9">
                  <c:v>266306.8150900568</c:v>
                </c:pt>
                <c:pt idx="10" formatCode="General">
                  <c:v>228853.30760079555</c:v>
                </c:pt>
                <c:pt idx="11" formatCode="General">
                  <c:v>220352.7087531182</c:v>
                </c:pt>
                <c:pt idx="12" formatCode="General">
                  <c:v>217169.99094564028</c:v>
                </c:pt>
                <c:pt idx="13" formatCode="General">
                  <c:v>213598.78636816508</c:v>
                </c:pt>
                <c:pt idx="14">
                  <c:v>205378.50519075102</c:v>
                </c:pt>
                <c:pt idx="15" formatCode="General">
                  <c:v>198627.78045586625</c:v>
                </c:pt>
                <c:pt idx="16" formatCode="General">
                  <c:v>197885.16342851808</c:v>
                </c:pt>
                <c:pt idx="17" formatCode="General">
                  <c:v>194690.78565464422</c:v>
                </c:pt>
                <c:pt idx="18">
                  <c:v>179484.93687102673</c:v>
                </c:pt>
                <c:pt idx="19" formatCode="General">
                  <c:v>167890.46604302863</c:v>
                </c:pt>
                <c:pt idx="20" formatCode="General">
                  <c:v>143479.74731471203</c:v>
                </c:pt>
                <c:pt idx="21" formatCode="General">
                  <c:v>134925.85733223893</c:v>
                </c:pt>
                <c:pt idx="22" formatCode="General">
                  <c:v>131193.25081010736</c:v>
                </c:pt>
                <c:pt idx="23" formatCode="General">
                  <c:v>129001.43291364447</c:v>
                </c:pt>
                <c:pt idx="24" formatCode="General">
                  <c:v>102945.53309917473</c:v>
                </c:pt>
                <c:pt idx="25" formatCode="General">
                  <c:v>91890.463069601552</c:v>
                </c:pt>
                <c:pt idx="26" formatCode="General">
                  <c:v>83018.41870322061</c:v>
                </c:pt>
                <c:pt idx="27" formatCode="General">
                  <c:v>80371.61882157634</c:v>
                </c:pt>
                <c:pt idx="28" formatCode="General">
                  <c:v>65502.891632882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Polsko</c:v>
                </c:pt>
                <c:pt idx="1">
                  <c:v>Maďar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Slovensko</c:v>
                </c:pt>
                <c:pt idx="5">
                  <c:v>Česká republika</c:v>
                </c:pt>
                <c:pt idx="6">
                  <c:v>Belgie</c:v>
                </c:pt>
                <c:pt idx="7">
                  <c:v>Irsko</c:v>
                </c:pt>
                <c:pt idx="8">
                  <c:v>Chorvatsko</c:v>
                </c:pt>
                <c:pt idx="9">
                  <c:v>Estonsko</c:v>
                </c:pt>
                <c:pt idx="10">
                  <c:v>Nizozemsko</c:v>
                </c:pt>
                <c:pt idx="11">
                  <c:v>Norsko</c:v>
                </c:pt>
                <c:pt idx="12">
                  <c:v>Litva</c:v>
                </c:pt>
                <c:pt idx="13">
                  <c:v>Lotyšsko</c:v>
                </c:pt>
                <c:pt idx="14">
                  <c:v>Lucembursko</c:v>
                </c:pt>
                <c:pt idx="15">
                  <c:v>Bulharsko</c:v>
                </c:pt>
                <c:pt idx="16">
                  <c:v>Finsko</c:v>
                </c:pt>
                <c:pt idx="17">
                  <c:v>Rumunsko</c:v>
                </c:pt>
                <c:pt idx="18">
                  <c:v>Španělsko</c:v>
                </c:pt>
                <c:pt idx="19">
                  <c:v>Francie</c:v>
                </c:pt>
                <c:pt idx="20">
                  <c:v>Portugalsko</c:v>
                </c:pt>
                <c:pt idx="21">
                  <c:v>Island</c:v>
                </c:pt>
                <c:pt idx="22">
                  <c:v>Slovinsko</c:v>
                </c:pt>
                <c:pt idx="23">
                  <c:v>Malta</c:v>
                </c:pt>
                <c:pt idx="24">
                  <c:v>Itálie</c:v>
                </c:pt>
                <c:pt idx="25">
                  <c:v>Rakousko</c:v>
                </c:pt>
                <c:pt idx="26">
                  <c:v>Dánsko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5002056713152454</c:v>
                </c:pt>
                <c:pt idx="1">
                  <c:v>0.23901743102966036</c:v>
                </c:pt>
                <c:pt idx="2">
                  <c:v>0.20497836952366683</c:v>
                </c:pt>
                <c:pt idx="3">
                  <c:v>0.1842040108937856</c:v>
                </c:pt>
                <c:pt idx="4">
                  <c:v>0.15487684552521383</c:v>
                </c:pt>
                <c:pt idx="5">
                  <c:v>0.14968435341497033</c:v>
                </c:pt>
                <c:pt idx="6">
                  <c:v>0.1492050304772829</c:v>
                </c:pt>
                <c:pt idx="7">
                  <c:v>0.14414612418778977</c:v>
                </c:pt>
                <c:pt idx="8">
                  <c:v>0.13641375311353915</c:v>
                </c:pt>
                <c:pt idx="9">
                  <c:v>0.11880349557919591</c:v>
                </c:pt>
                <c:pt idx="10">
                  <c:v>0.11876467705316938</c:v>
                </c:pt>
                <c:pt idx="11">
                  <c:v>0.10639476497456996</c:v>
                </c:pt>
                <c:pt idx="12">
                  <c:v>0.10442557834262432</c:v>
                </c:pt>
                <c:pt idx="13">
                  <c:v>9.4955326244258481E-2</c:v>
                </c:pt>
                <c:pt idx="14">
                  <c:v>8.8503560149859758E-2</c:v>
                </c:pt>
                <c:pt idx="15">
                  <c:v>7.8886088944887772E-2</c:v>
                </c:pt>
                <c:pt idx="16">
                  <c:v>6.1943038685290608E-2</c:v>
                </c:pt>
                <c:pt idx="17">
                  <c:v>5.8876077813412052E-2</c:v>
                </c:pt>
                <c:pt idx="18">
                  <c:v>5.8810996161087307E-2</c:v>
                </c:pt>
                <c:pt idx="19">
                  <c:v>5.2622312092216419E-2</c:v>
                </c:pt>
                <c:pt idx="20">
                  <c:v>4.4662423431037448E-2</c:v>
                </c:pt>
                <c:pt idx="21">
                  <c:v>4.1480483972985656E-2</c:v>
                </c:pt>
                <c:pt idx="22">
                  <c:v>4.0100151228772918E-2</c:v>
                </c:pt>
                <c:pt idx="23">
                  <c:v>2.5965556387526872E-2</c:v>
                </c:pt>
                <c:pt idx="24">
                  <c:v>1.7128678201092561E-2</c:v>
                </c:pt>
                <c:pt idx="25">
                  <c:v>1.3180858328502854E-2</c:v>
                </c:pt>
                <c:pt idx="26">
                  <c:v>1.200911609129887E-2</c:v>
                </c:pt>
                <c:pt idx="27">
                  <c:v>9.5279525523217588E-3</c:v>
                </c:pt>
                <c:pt idx="28">
                  <c:v>7.500177712141148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6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Polsko</c:v>
                </c:pt>
                <c:pt idx="1">
                  <c:v>Maďar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Česká republika</c:v>
                </c:pt>
                <c:pt idx="5">
                  <c:v>Belgie</c:v>
                </c:pt>
                <c:pt idx="6">
                  <c:v>Slovensko</c:v>
                </c:pt>
                <c:pt idx="7">
                  <c:v>Irsko</c:v>
                </c:pt>
                <c:pt idx="8">
                  <c:v>Chorvatsko</c:v>
                </c:pt>
                <c:pt idx="9">
                  <c:v>Nizozemsko</c:v>
                </c:pt>
                <c:pt idx="10">
                  <c:v>Litva</c:v>
                </c:pt>
                <c:pt idx="11">
                  <c:v>Norsko</c:v>
                </c:pt>
                <c:pt idx="12">
                  <c:v>Estonsko</c:v>
                </c:pt>
                <c:pt idx="13">
                  <c:v>Lotyšsko</c:v>
                </c:pt>
                <c:pt idx="14">
                  <c:v>Lucembursko</c:v>
                </c:pt>
                <c:pt idx="15">
                  <c:v>Bulharsko</c:v>
                </c:pt>
                <c:pt idx="16">
                  <c:v>Španělsko</c:v>
                </c:pt>
                <c:pt idx="17">
                  <c:v>Finsko</c:v>
                </c:pt>
                <c:pt idx="18">
                  <c:v>Francie</c:v>
                </c:pt>
                <c:pt idx="19">
                  <c:v>Rumunsko</c:v>
                </c:pt>
                <c:pt idx="20">
                  <c:v>Portugalsko</c:v>
                </c:pt>
                <c:pt idx="21">
                  <c:v>Island</c:v>
                </c:pt>
                <c:pt idx="22">
                  <c:v>Slovinsko</c:v>
                </c:pt>
                <c:pt idx="23">
                  <c:v>Malta</c:v>
                </c:pt>
                <c:pt idx="24">
                  <c:v>Itálie</c:v>
                </c:pt>
                <c:pt idx="25">
                  <c:v>Dánsko</c:v>
                </c:pt>
                <c:pt idx="26">
                  <c:v>Rakousko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4583406029879135</c:v>
                </c:pt>
                <c:pt idx="1">
                  <c:v>0.23216177902514462</c:v>
                </c:pt>
                <c:pt idx="2">
                  <c:v>0.19139994363698726</c:v>
                </c:pt>
                <c:pt idx="3">
                  <c:v>0.19969434538970962</c:v>
                </c:pt>
                <c:pt idx="4">
                  <c:v>0.13597476158292957</c:v>
                </c:pt>
                <c:pt idx="5">
                  <c:v>0.14897786440279576</c:v>
                </c:pt>
                <c:pt idx="6">
                  <c:v>0.17444968932132363</c:v>
                </c:pt>
                <c:pt idx="7">
                  <c:v>0.15173887981554424</c:v>
                </c:pt>
                <c:pt idx="8">
                  <c:v>0.14547881824748773</c:v>
                </c:pt>
                <c:pt idx="9">
                  <c:v>0.11165832569028313</c:v>
                </c:pt>
                <c:pt idx="10">
                  <c:v>8.9718758387557759E-2</c:v>
                </c:pt>
                <c:pt idx="11">
                  <c:v>9.8054516230149991E-2</c:v>
                </c:pt>
                <c:pt idx="12">
                  <c:v>0.12913758723828514</c:v>
                </c:pt>
                <c:pt idx="13">
                  <c:v>9.7472071281514736E-2</c:v>
                </c:pt>
                <c:pt idx="14">
                  <c:v>9.0943845042902052E-2</c:v>
                </c:pt>
                <c:pt idx="15">
                  <c:v>8.1598100829047004E-2</c:v>
                </c:pt>
                <c:pt idx="16">
                  <c:v>5.3653519481898289E-2</c:v>
                </c:pt>
                <c:pt idx="17">
                  <c:v>6.2937599672519801E-2</c:v>
                </c:pt>
                <c:pt idx="18">
                  <c:v>4.7733054663565512E-2</c:v>
                </c:pt>
                <c:pt idx="19">
                  <c:v>6.7958832389012402E-2</c:v>
                </c:pt>
                <c:pt idx="20">
                  <c:v>4.5082391344843188E-2</c:v>
                </c:pt>
                <c:pt idx="21">
                  <c:v>4.14723060640508E-2</c:v>
                </c:pt>
                <c:pt idx="22">
                  <c:v>4.6723777967491359E-2</c:v>
                </c:pt>
                <c:pt idx="23">
                  <c:v>2.647689011325375E-2</c:v>
                </c:pt>
                <c:pt idx="24">
                  <c:v>1.8459314079334509E-2</c:v>
                </c:pt>
                <c:pt idx="25">
                  <c:v>1.3477052722122728E-2</c:v>
                </c:pt>
                <c:pt idx="26">
                  <c:v>1.6540229210157478E-2</c:v>
                </c:pt>
                <c:pt idx="27">
                  <c:v>9.6460028792378274E-3</c:v>
                </c:pt>
                <c:pt idx="28">
                  <c:v>6.216364748701251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47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Polsko</c:v>
                </c:pt>
                <c:pt idx="1">
                  <c:v>Maďar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Česká republika</c:v>
                </c:pt>
                <c:pt idx="5">
                  <c:v>Belgie</c:v>
                </c:pt>
                <c:pt idx="6">
                  <c:v>Slovensko</c:v>
                </c:pt>
                <c:pt idx="7">
                  <c:v>Irsko</c:v>
                </c:pt>
                <c:pt idx="8">
                  <c:v>Chorvatsko</c:v>
                </c:pt>
                <c:pt idx="9">
                  <c:v>Nizozemsko</c:v>
                </c:pt>
                <c:pt idx="10">
                  <c:v>Litva</c:v>
                </c:pt>
                <c:pt idx="11">
                  <c:v>Norsko</c:v>
                </c:pt>
                <c:pt idx="12">
                  <c:v>Estonsko</c:v>
                </c:pt>
                <c:pt idx="13">
                  <c:v>Lotyšsko</c:v>
                </c:pt>
                <c:pt idx="14">
                  <c:v>Lucembursko</c:v>
                </c:pt>
                <c:pt idx="15">
                  <c:v>Bulharsko</c:v>
                </c:pt>
                <c:pt idx="16">
                  <c:v>Španělsko</c:v>
                </c:pt>
                <c:pt idx="17">
                  <c:v>Finsko</c:v>
                </c:pt>
                <c:pt idx="18">
                  <c:v>Francie</c:v>
                </c:pt>
                <c:pt idx="19">
                  <c:v>Rumunsko</c:v>
                </c:pt>
                <c:pt idx="20">
                  <c:v>Portugalsko</c:v>
                </c:pt>
                <c:pt idx="21">
                  <c:v>Island</c:v>
                </c:pt>
                <c:pt idx="22">
                  <c:v>Slovinsko</c:v>
                </c:pt>
                <c:pt idx="23">
                  <c:v>Malta</c:v>
                </c:pt>
                <c:pt idx="24">
                  <c:v>Itálie</c:v>
                </c:pt>
                <c:pt idx="25">
                  <c:v>Dánsko</c:v>
                </c:pt>
                <c:pt idx="26">
                  <c:v>Rakousko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25382659606727159</c:v>
                </c:pt>
                <c:pt idx="1">
                  <c:v>0.24564115866839603</c:v>
                </c:pt>
                <c:pt idx="2">
                  <c:v>0.21879055555555554</c:v>
                </c:pt>
                <c:pt idx="3">
                  <c:v>0.16955684007707128</c:v>
                </c:pt>
                <c:pt idx="4">
                  <c:v>0.16343329323407707</c:v>
                </c:pt>
                <c:pt idx="5">
                  <c:v>0.14941071955942364</c:v>
                </c:pt>
                <c:pt idx="6">
                  <c:v>0.1378633947617981</c:v>
                </c:pt>
                <c:pt idx="7">
                  <c:v>0.13694530114663958</c:v>
                </c:pt>
                <c:pt idx="8">
                  <c:v>0.12860165401269469</c:v>
                </c:pt>
                <c:pt idx="9">
                  <c:v>0.12627906678260759</c:v>
                </c:pt>
                <c:pt idx="10">
                  <c:v>0.12537325770021596</c:v>
                </c:pt>
                <c:pt idx="11">
                  <c:v>0.11427185627988133</c:v>
                </c:pt>
                <c:pt idx="12">
                  <c:v>0.1078371730102891</c:v>
                </c:pt>
                <c:pt idx="13">
                  <c:v>9.2758447986330025E-2</c:v>
                </c:pt>
                <c:pt idx="14">
                  <c:v>8.640985458653741E-2</c:v>
                </c:pt>
                <c:pt idx="15">
                  <c:v>7.6095293103938033E-2</c:v>
                </c:pt>
                <c:pt idx="16">
                  <c:v>6.3374360925387091E-2</c:v>
                </c:pt>
                <c:pt idx="17">
                  <c:v>6.0996591462424934E-2</c:v>
                </c:pt>
                <c:pt idx="18">
                  <c:v>5.6193262036315736E-2</c:v>
                </c:pt>
                <c:pt idx="19">
                  <c:v>4.9202117501470487E-2</c:v>
                </c:pt>
                <c:pt idx="20">
                  <c:v>4.4356324687779489E-2</c:v>
                </c:pt>
                <c:pt idx="21">
                  <c:v>4.1489361702127657E-2</c:v>
                </c:pt>
                <c:pt idx="22">
                  <c:v>3.3636268026057743E-2</c:v>
                </c:pt>
                <c:pt idx="23">
                  <c:v>2.5505757144823157E-2</c:v>
                </c:pt>
                <c:pt idx="24">
                  <c:v>1.5846098941533979E-2</c:v>
                </c:pt>
                <c:pt idx="25">
                  <c:v>1.069310918641744E-2</c:v>
                </c:pt>
                <c:pt idx="26">
                  <c:v>1.0644576761755255E-2</c:v>
                </c:pt>
                <c:pt idx="27">
                  <c:v>9.4080967436600011E-3</c:v>
                </c:pt>
                <c:pt idx="28">
                  <c:v>9.13160781523318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H$2:$H$48</c:f>
              <c:numCache>
                <c:formatCode>0.0%</c:formatCode>
                <c:ptCount val="47"/>
                <c:pt idx="0">
                  <c:v>4.8301828152973056E-2</c:v>
                </c:pt>
                <c:pt idx="1">
                  <c:v>4.6174331460271778E-2</c:v>
                </c:pt>
                <c:pt idx="2">
                  <c:v>4.9433045529424582E-2</c:v>
                </c:pt>
                <c:pt idx="3">
                  <c:v>4.7978187114365231E-2</c:v>
                </c:pt>
                <c:pt idx="4">
                  <c:v>4.4145173514618406E-2</c:v>
                </c:pt>
                <c:pt idx="5">
                  <c:v>4.3174882981777879E-2</c:v>
                </c:pt>
                <c:pt idx="6">
                  <c:v>5.8835020756240961E-2</c:v>
                </c:pt>
                <c:pt idx="7">
                  <c:v>5.8802924366017424E-2</c:v>
                </c:pt>
                <c:pt idx="8">
                  <c:v>5.3986869369296565E-2</c:v>
                </c:pt>
                <c:pt idx="9">
                  <c:v>6.3377714003434407E-2</c:v>
                </c:pt>
                <c:pt idx="10">
                  <c:v>7.1123396631515248E-2</c:v>
                </c:pt>
                <c:pt idx="11">
                  <c:v>7.1207996129029574E-2</c:v>
                </c:pt>
                <c:pt idx="12">
                  <c:v>7.2776234876422027E-2</c:v>
                </c:pt>
                <c:pt idx="13">
                  <c:v>8.5721501581978776E-2</c:v>
                </c:pt>
                <c:pt idx="14">
                  <c:v>8.7193306315290653E-2</c:v>
                </c:pt>
                <c:pt idx="15">
                  <c:v>7.9296512430828331E-2</c:v>
                </c:pt>
                <c:pt idx="16">
                  <c:v>6.3284394445230485E-2</c:v>
                </c:pt>
                <c:pt idx="17">
                  <c:v>5.7257888364241394E-2</c:v>
                </c:pt>
                <c:pt idx="18">
                  <c:v>5.0551819512988774E-2</c:v>
                </c:pt>
                <c:pt idx="19">
                  <c:v>4.8513196711197852E-2</c:v>
                </c:pt>
                <c:pt idx="20">
                  <c:v>3.9668590699785976E-2</c:v>
                </c:pt>
                <c:pt idx="21">
                  <c:v>2.9208559815248412E-2</c:v>
                </c:pt>
                <c:pt idx="22">
                  <c:v>1.8953774607252814E-2</c:v>
                </c:pt>
                <c:pt idx="23">
                  <c:v>1.1060863974751423E-2</c:v>
                </c:pt>
                <c:pt idx="24">
                  <c:v>8.3396100943889141E-3</c:v>
                </c:pt>
                <c:pt idx="25">
                  <c:v>9.0331384359930052E-3</c:v>
                </c:pt>
                <c:pt idx="26">
                  <c:v>1.7588551520032965E-2</c:v>
                </c:pt>
                <c:pt idx="27">
                  <c:v>1.8976128217619979E-2</c:v>
                </c:pt>
                <c:pt idx="28">
                  <c:v>2.4629526039839578E-2</c:v>
                </c:pt>
                <c:pt idx="29">
                  <c:v>2.9404023900541226E-2</c:v>
                </c:pt>
                <c:pt idx="30">
                  <c:v>3.4775170579358833E-2</c:v>
                </c:pt>
                <c:pt idx="31">
                  <c:v>3.7970832349989055E-2</c:v>
                </c:pt>
                <c:pt idx="32">
                  <c:v>4.5131377596799825E-2</c:v>
                </c:pt>
                <c:pt idx="33">
                  <c:v>4.9229846248290875E-2</c:v>
                </c:pt>
                <c:pt idx="34">
                  <c:v>4.8762421853957273E-2</c:v>
                </c:pt>
                <c:pt idx="35">
                  <c:v>4.5990999725846034E-2</c:v>
                </c:pt>
                <c:pt idx="36">
                  <c:v>4.3777387328266901E-2</c:v>
                </c:pt>
                <c:pt idx="37">
                  <c:v>4.1035450370383739E-2</c:v>
                </c:pt>
                <c:pt idx="38">
                  <c:v>4.2844126198119073E-2</c:v>
                </c:pt>
                <c:pt idx="39">
                  <c:v>4.7682826255122462E-2</c:v>
                </c:pt>
                <c:pt idx="40">
                  <c:v>6.493761080049093E-2</c:v>
                </c:pt>
                <c:pt idx="41">
                  <c:v>8.5110096898894774E-2</c:v>
                </c:pt>
                <c:pt idx="42">
                  <c:v>9.2321204432494641E-2</c:v>
                </c:pt>
                <c:pt idx="43">
                  <c:v>0.11049396288825368</c:v>
                </c:pt>
                <c:pt idx="44">
                  <c:v>0.12986889204244595</c:v>
                </c:pt>
                <c:pt idx="45">
                  <c:v>0.14897786440279576</c:v>
                </c:pt>
                <c:pt idx="46">
                  <c:v>0.14941071955942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C$2:$C$48</c:f>
              <c:numCache>
                <c:formatCode>0.0%</c:formatCode>
                <c:ptCount val="47"/>
                <c:pt idx="0">
                  <c:v>0.20389938808403127</c:v>
                </c:pt>
                <c:pt idx="1">
                  <c:v>0.15135006217038974</c:v>
                </c:pt>
                <c:pt idx="2">
                  <c:v>0.14590076083961817</c:v>
                </c:pt>
                <c:pt idx="3">
                  <c:v>0.13097803861754923</c:v>
                </c:pt>
                <c:pt idx="4">
                  <c:v>0.12609507793934024</c:v>
                </c:pt>
                <c:pt idx="5">
                  <c:v>0.12903116955737878</c:v>
                </c:pt>
                <c:pt idx="6">
                  <c:v>0.13560933324883007</c:v>
                </c:pt>
                <c:pt idx="7">
                  <c:v>0.13957440221816933</c:v>
                </c:pt>
                <c:pt idx="8">
                  <c:v>0.1158312527138515</c:v>
                </c:pt>
                <c:pt idx="9">
                  <c:v>6.5038808142718271E-2</c:v>
                </c:pt>
                <c:pt idx="10">
                  <c:v>5.1111528566948346E-2</c:v>
                </c:pt>
                <c:pt idx="11">
                  <c:v>3.8237021467319908E-2</c:v>
                </c:pt>
                <c:pt idx="12">
                  <c:v>3.0661080136142712E-2</c:v>
                </c:pt>
                <c:pt idx="13">
                  <c:v>2.0970008296163866E-2</c:v>
                </c:pt>
                <c:pt idx="14">
                  <c:v>1.5998965891506269E-2</c:v>
                </c:pt>
                <c:pt idx="15">
                  <c:v>1.2926969165678672E-2</c:v>
                </c:pt>
                <c:pt idx="16">
                  <c:v>1.0495965695117395E-2</c:v>
                </c:pt>
                <c:pt idx="17">
                  <c:v>7.499659452122426E-3</c:v>
                </c:pt>
                <c:pt idx="18">
                  <c:v>5.2766950571549896E-3</c:v>
                </c:pt>
                <c:pt idx="19">
                  <c:v>3.1291282767537342E-3</c:v>
                </c:pt>
                <c:pt idx="20">
                  <c:v>2.2710674655227426E-3</c:v>
                </c:pt>
                <c:pt idx="21">
                  <c:v>1.8180933499026464E-3</c:v>
                </c:pt>
                <c:pt idx="22">
                  <c:v>1.2699925305093762E-3</c:v>
                </c:pt>
                <c:pt idx="23">
                  <c:v>8.7242810615131643E-4</c:v>
                </c:pt>
                <c:pt idx="24">
                  <c:v>7.426129274572034E-4</c:v>
                </c:pt>
                <c:pt idx="25">
                  <c:v>1.1449136841533074E-3</c:v>
                </c:pt>
                <c:pt idx="26">
                  <c:v>2.529876145740198E-3</c:v>
                </c:pt>
                <c:pt idx="27">
                  <c:v>2.2194301396133149E-3</c:v>
                </c:pt>
                <c:pt idx="28">
                  <c:v>1.8658963154084556E-3</c:v>
                </c:pt>
                <c:pt idx="29">
                  <c:v>1.567811142317262E-3</c:v>
                </c:pt>
                <c:pt idx="30">
                  <c:v>1.6370593058212626E-3</c:v>
                </c:pt>
                <c:pt idx="31">
                  <c:v>1.7219489931512475E-3</c:v>
                </c:pt>
                <c:pt idx="32">
                  <c:v>1.9305019305019305E-3</c:v>
                </c:pt>
                <c:pt idx="33">
                  <c:v>2.3291430029991705E-3</c:v>
                </c:pt>
                <c:pt idx="34">
                  <c:v>3.1251279877915227E-3</c:v>
                </c:pt>
                <c:pt idx="35">
                  <c:v>4.9468395086569687E-3</c:v>
                </c:pt>
                <c:pt idx="36">
                  <c:v>6.0483113565498329E-3</c:v>
                </c:pt>
                <c:pt idx="37">
                  <c:v>6.3479321484379569E-3</c:v>
                </c:pt>
                <c:pt idx="38">
                  <c:v>9.8363092960665702E-3</c:v>
                </c:pt>
                <c:pt idx="39">
                  <c:v>1.3366281280050093E-2</c:v>
                </c:pt>
                <c:pt idx="40">
                  <c:v>1.9514796811278552E-2</c:v>
                </c:pt>
                <c:pt idx="41">
                  <c:v>3.6598088791017593E-2</c:v>
                </c:pt>
                <c:pt idx="42">
                  <c:v>4.8945888266150747E-2</c:v>
                </c:pt>
                <c:pt idx="43">
                  <c:v>8.8518711070344092E-2</c:v>
                </c:pt>
                <c:pt idx="44">
                  <c:v>0.10930249090081892</c:v>
                </c:pt>
                <c:pt idx="45">
                  <c:v>0.13597476158292957</c:v>
                </c:pt>
                <c:pt idx="46">
                  <c:v>0.163433293234077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D$2:$D$48</c:f>
              <c:numCache>
                <c:formatCode>0.0%</c:formatCode>
                <c:ptCount val="47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4786407281609365E-2</c:v>
                </c:pt>
                <c:pt idx="9">
                  <c:v>6.6706471148282445E-2</c:v>
                </c:pt>
                <c:pt idx="10">
                  <c:v>7.3099290863917532E-2</c:v>
                </c:pt>
                <c:pt idx="11">
                  <c:v>7.5498554565808673E-2</c:v>
                </c:pt>
                <c:pt idx="12">
                  <c:v>7.0390653691178279E-2</c:v>
                </c:pt>
                <c:pt idx="13">
                  <c:v>8.1076502230597661E-2</c:v>
                </c:pt>
                <c:pt idx="14">
                  <c:v>9.0645902760655692E-2</c:v>
                </c:pt>
                <c:pt idx="15">
                  <c:v>9.2221719048102266E-2</c:v>
                </c:pt>
                <c:pt idx="16">
                  <c:v>6.9694748600796053E-2</c:v>
                </c:pt>
                <c:pt idx="17">
                  <c:v>4.9530392356169954E-2</c:v>
                </c:pt>
                <c:pt idx="18">
                  <c:v>4.1112470048167739E-2</c:v>
                </c:pt>
                <c:pt idx="19">
                  <c:v>3.6055606027539093E-2</c:v>
                </c:pt>
                <c:pt idx="20">
                  <c:v>3.141489552060759E-2</c:v>
                </c:pt>
                <c:pt idx="21">
                  <c:v>2.3885798611162114E-2</c:v>
                </c:pt>
                <c:pt idx="22">
                  <c:v>1.5403502673782666E-2</c:v>
                </c:pt>
                <c:pt idx="23">
                  <c:v>9.7169335959357596E-3</c:v>
                </c:pt>
                <c:pt idx="24">
                  <c:v>7.7068662825661022E-3</c:v>
                </c:pt>
                <c:pt idx="25">
                  <c:v>8.7743639303792011E-3</c:v>
                </c:pt>
                <c:pt idx="26">
                  <c:v>1.2407202619028043E-2</c:v>
                </c:pt>
                <c:pt idx="27">
                  <c:v>2.3378893884813186E-2</c:v>
                </c:pt>
                <c:pt idx="28">
                  <c:v>4.2076159564349735E-2</c:v>
                </c:pt>
                <c:pt idx="29">
                  <c:v>4.2618263732455378E-2</c:v>
                </c:pt>
                <c:pt idx="30">
                  <c:v>4.3305743173333432E-2</c:v>
                </c:pt>
                <c:pt idx="31">
                  <c:v>3.5691828298066018E-2</c:v>
                </c:pt>
                <c:pt idx="32">
                  <c:v>3.1057260114972538E-2</c:v>
                </c:pt>
                <c:pt idx="33">
                  <c:v>2.8494347519878557E-2</c:v>
                </c:pt>
                <c:pt idx="34">
                  <c:v>2.4630632269883723E-2</c:v>
                </c:pt>
                <c:pt idx="35">
                  <c:v>1.9954781460228933E-2</c:v>
                </c:pt>
                <c:pt idx="36">
                  <c:v>1.4879269519677944E-2</c:v>
                </c:pt>
                <c:pt idx="37">
                  <c:v>1.2461365680182484E-2</c:v>
                </c:pt>
                <c:pt idx="38">
                  <c:v>1.0940178320000707E-2</c:v>
                </c:pt>
                <c:pt idx="39">
                  <c:v>1.0219963646944673E-2</c:v>
                </c:pt>
                <c:pt idx="40">
                  <c:v>1.1529827699139957E-2</c:v>
                </c:pt>
                <c:pt idx="41">
                  <c:v>1.7536007395283458E-2</c:v>
                </c:pt>
                <c:pt idx="42">
                  <c:v>2.1321999384926842E-2</c:v>
                </c:pt>
                <c:pt idx="43">
                  <c:v>2.9361010393789341E-2</c:v>
                </c:pt>
                <c:pt idx="44">
                  <c:v>3.607333380221954E-2</c:v>
                </c:pt>
                <c:pt idx="45">
                  <c:v>4.7733054663565512E-2</c:v>
                </c:pt>
                <c:pt idx="46">
                  <c:v>5.619326203631573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F$2:$F$48</c:f>
              <c:numCache>
                <c:formatCode>0.0%</c:formatCode>
                <c:ptCount val="47"/>
                <c:pt idx="0">
                  <c:v>0.12648868423833867</c:v>
                </c:pt>
                <c:pt idx="1">
                  <c:v>7.1484126422965422E-2</c:v>
                </c:pt>
                <c:pt idx="2">
                  <c:v>5.6269736859519887E-2</c:v>
                </c:pt>
                <c:pt idx="3">
                  <c:v>4.7704986059256958E-2</c:v>
                </c:pt>
                <c:pt idx="4">
                  <c:v>4.9135023584905659E-2</c:v>
                </c:pt>
                <c:pt idx="5">
                  <c:v>4.6128842016662466E-2</c:v>
                </c:pt>
                <c:pt idx="6">
                  <c:v>4.7507403359575276E-2</c:v>
                </c:pt>
                <c:pt idx="7">
                  <c:v>5.8592597307164887E-2</c:v>
                </c:pt>
                <c:pt idx="8">
                  <c:v>6.4536973100846259E-2</c:v>
                </c:pt>
                <c:pt idx="9">
                  <c:v>6.8419997903930746E-2</c:v>
                </c:pt>
                <c:pt idx="10">
                  <c:v>6.5863497029236648E-2</c:v>
                </c:pt>
                <c:pt idx="11">
                  <c:v>6.5629157415353315E-2</c:v>
                </c:pt>
                <c:pt idx="12">
                  <c:v>6.2394683754598314E-2</c:v>
                </c:pt>
                <c:pt idx="13">
                  <c:v>5.43146165429262E-2</c:v>
                </c:pt>
                <c:pt idx="14">
                  <c:v>4.7961882310948639E-2</c:v>
                </c:pt>
                <c:pt idx="15">
                  <c:v>4.4932670398750131E-2</c:v>
                </c:pt>
                <c:pt idx="16">
                  <c:v>3.9197831465967822E-2</c:v>
                </c:pt>
                <c:pt idx="17">
                  <c:v>3.2148150689285331E-2</c:v>
                </c:pt>
                <c:pt idx="18">
                  <c:v>2.4572963758616735E-2</c:v>
                </c:pt>
                <c:pt idx="19">
                  <c:v>1.8370365359981978E-2</c:v>
                </c:pt>
                <c:pt idx="20">
                  <c:v>1.4675869404607831E-2</c:v>
                </c:pt>
                <c:pt idx="21">
                  <c:v>1.3094204047723891E-2</c:v>
                </c:pt>
                <c:pt idx="22">
                  <c:v>9.0544330936671441E-3</c:v>
                </c:pt>
                <c:pt idx="23">
                  <c:v>5.6406676746000783E-3</c:v>
                </c:pt>
                <c:pt idx="24">
                  <c:v>4.3263028855996272E-3</c:v>
                </c:pt>
                <c:pt idx="25">
                  <c:v>4.653467230111721E-3</c:v>
                </c:pt>
                <c:pt idx="26">
                  <c:v>7.5271163596688272E-3</c:v>
                </c:pt>
                <c:pt idx="27">
                  <c:v>1.4685541918003777E-2</c:v>
                </c:pt>
                <c:pt idx="28">
                  <c:v>2.175938758369397E-2</c:v>
                </c:pt>
                <c:pt idx="29">
                  <c:v>2.5859686445487917E-2</c:v>
                </c:pt>
                <c:pt idx="30">
                  <c:v>2.9070753027448687E-2</c:v>
                </c:pt>
                <c:pt idx="31">
                  <c:v>3.0119413407821229E-2</c:v>
                </c:pt>
                <c:pt idx="32">
                  <c:v>3.2442008763581651E-2</c:v>
                </c:pt>
                <c:pt idx="33">
                  <c:v>2.8501296357875273E-2</c:v>
                </c:pt>
                <c:pt idx="34">
                  <c:v>2.1010869050811631E-2</c:v>
                </c:pt>
                <c:pt idx="35">
                  <c:v>1.7066106535569513E-2</c:v>
                </c:pt>
                <c:pt idx="36">
                  <c:v>1.4683823387337071E-2</c:v>
                </c:pt>
                <c:pt idx="37">
                  <c:v>1.194018081625102E-2</c:v>
                </c:pt>
                <c:pt idx="38">
                  <c:v>1.0420979813846857E-2</c:v>
                </c:pt>
                <c:pt idx="39">
                  <c:v>9.3466804545011828E-3</c:v>
                </c:pt>
                <c:pt idx="40">
                  <c:v>7.4622406611263604E-3</c:v>
                </c:pt>
                <c:pt idx="41">
                  <c:v>7.6350457744816099E-3</c:v>
                </c:pt>
                <c:pt idx="42">
                  <c:v>1.0037563197245969E-2</c:v>
                </c:pt>
                <c:pt idx="43">
                  <c:v>1.2580470243582626E-2</c:v>
                </c:pt>
                <c:pt idx="44">
                  <c:v>1.5525248380584864E-2</c:v>
                </c:pt>
                <c:pt idx="45">
                  <c:v>1.8459314079334509E-2</c:v>
                </c:pt>
                <c:pt idx="46">
                  <c:v>1.584609894153397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J$2:$J$48</c:f>
              <c:numCache>
                <c:formatCode>0.0%</c:formatCode>
                <c:ptCount val="47"/>
                <c:pt idx="0">
                  <c:v>0.1128292281429094</c:v>
                </c:pt>
                <c:pt idx="1">
                  <c:v>8.1488353659635027E-2</c:v>
                </c:pt>
                <c:pt idx="2">
                  <c:v>7.8289467006364258E-2</c:v>
                </c:pt>
                <c:pt idx="3">
                  <c:v>7.6042488396411603E-2</c:v>
                </c:pt>
                <c:pt idx="4">
                  <c:v>8.5644246974107552E-2</c:v>
                </c:pt>
                <c:pt idx="5">
                  <c:v>9.8985603543743084E-2</c:v>
                </c:pt>
                <c:pt idx="6">
                  <c:v>0.12751089037908436</c:v>
                </c:pt>
                <c:pt idx="7">
                  <c:v>0.1699868352418093</c:v>
                </c:pt>
                <c:pt idx="8">
                  <c:v>0.18455097168726572</c:v>
                </c:pt>
                <c:pt idx="9">
                  <c:v>0.24132456437960523</c:v>
                </c:pt>
                <c:pt idx="10">
                  <c:v>0.26763241500308216</c:v>
                </c:pt>
                <c:pt idx="11">
                  <c:v>0.24924785070763855</c:v>
                </c:pt>
                <c:pt idx="12">
                  <c:v>0.22757017633934823</c:v>
                </c:pt>
                <c:pt idx="13">
                  <c:v>0.18740771709965759</c:v>
                </c:pt>
                <c:pt idx="14">
                  <c:v>0.15275652516066979</c:v>
                </c:pt>
                <c:pt idx="15">
                  <c:v>0.1194147807060514</c:v>
                </c:pt>
                <c:pt idx="16">
                  <c:v>9.5968362741694471E-2</c:v>
                </c:pt>
                <c:pt idx="17">
                  <c:v>7.5881230972380143E-2</c:v>
                </c:pt>
                <c:pt idx="18">
                  <c:v>5.6216265251508142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770989135036E-2</c:v>
                </c:pt>
                <c:pt idx="38">
                  <c:v>4.4005792797945746E-2</c:v>
                </c:pt>
                <c:pt idx="39">
                  <c:v>5.0057914636011974E-2</c:v>
                </c:pt>
                <c:pt idx="40">
                  <c:v>6.8871645587227151E-2</c:v>
                </c:pt>
                <c:pt idx="41">
                  <c:v>0.11984589665911424</c:v>
                </c:pt>
                <c:pt idx="42">
                  <c:v>0.16136845697309521</c:v>
                </c:pt>
                <c:pt idx="43">
                  <c:v>0.20132975089940344</c:v>
                </c:pt>
                <c:pt idx="44">
                  <c:v>0.22405975279264989</c:v>
                </c:pt>
                <c:pt idx="45">
                  <c:v>0.23216177902514462</c:v>
                </c:pt>
                <c:pt idx="46">
                  <c:v>0.24564115866839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E$2:$E$48</c:f>
              <c:numCache>
                <c:formatCode>0.0%</c:formatCode>
                <c:ptCount val="47"/>
                <c:pt idx="0">
                  <c:v>0.11811304972775001</c:v>
                </c:pt>
                <c:pt idx="1">
                  <c:v>0.10010407860123749</c:v>
                </c:pt>
                <c:pt idx="2">
                  <c:v>8.5770726144618337E-2</c:v>
                </c:pt>
                <c:pt idx="3">
                  <c:v>6.7838452006845934E-2</c:v>
                </c:pt>
                <c:pt idx="4">
                  <c:v>5.8606498961869237E-2</c:v>
                </c:pt>
                <c:pt idx="5">
                  <c:v>4.7902040539240923E-2</c:v>
                </c:pt>
                <c:pt idx="6">
                  <c:v>4.7482349571395292E-2</c:v>
                </c:pt>
                <c:pt idx="7">
                  <c:v>4.8088493067917848E-2</c:v>
                </c:pt>
                <c:pt idx="8">
                  <c:v>5.0611738794904923E-2</c:v>
                </c:pt>
                <c:pt idx="9">
                  <c:v>5.5714229912894028E-2</c:v>
                </c:pt>
                <c:pt idx="10">
                  <c:v>6.7565536074213645E-2</c:v>
                </c:pt>
                <c:pt idx="11">
                  <c:v>8.1963399667705467E-2</c:v>
                </c:pt>
                <c:pt idx="12">
                  <c:v>9.3085113128790364E-2</c:v>
                </c:pt>
                <c:pt idx="13">
                  <c:v>0.10073279415672461</c:v>
                </c:pt>
                <c:pt idx="14">
                  <c:v>0.1078772883883868</c:v>
                </c:pt>
                <c:pt idx="15">
                  <c:v>0.10108284845149738</c:v>
                </c:pt>
                <c:pt idx="16">
                  <c:v>9.1381668746302061E-2</c:v>
                </c:pt>
                <c:pt idx="17">
                  <c:v>8.0149096878045986E-2</c:v>
                </c:pt>
                <c:pt idx="18">
                  <c:v>6.4149213378900935E-2</c:v>
                </c:pt>
                <c:pt idx="19">
                  <c:v>4.315371386454836E-2</c:v>
                </c:pt>
                <c:pt idx="20">
                  <c:v>3.1411240301928052E-2</c:v>
                </c:pt>
                <c:pt idx="21">
                  <c:v>2.3400374731849492E-2</c:v>
                </c:pt>
                <c:pt idx="22">
                  <c:v>1.6802195921074209E-2</c:v>
                </c:pt>
                <c:pt idx="23">
                  <c:v>9.9531696048565672E-3</c:v>
                </c:pt>
                <c:pt idx="24">
                  <c:v>6.7503922449568005E-3</c:v>
                </c:pt>
                <c:pt idx="25">
                  <c:v>4.8126664758843859E-3</c:v>
                </c:pt>
                <c:pt idx="26">
                  <c:v>9.1061292825350155E-3</c:v>
                </c:pt>
                <c:pt idx="27">
                  <c:v>1.4976060022705958E-2</c:v>
                </c:pt>
                <c:pt idx="28">
                  <c:v>2.124534359005421E-2</c:v>
                </c:pt>
                <c:pt idx="29">
                  <c:v>2.6577224468944095E-2</c:v>
                </c:pt>
                <c:pt idx="30">
                  <c:v>3.460593617602032E-2</c:v>
                </c:pt>
                <c:pt idx="31">
                  <c:v>5.6443547648728408E-2</c:v>
                </c:pt>
                <c:pt idx="32">
                  <c:v>7.1819166058753367E-2</c:v>
                </c:pt>
                <c:pt idx="33">
                  <c:v>7.699664343845608E-2</c:v>
                </c:pt>
                <c:pt idx="34">
                  <c:v>7.8879350865129386E-2</c:v>
                </c:pt>
                <c:pt idx="35">
                  <c:v>7.0882918206843476E-2</c:v>
                </c:pt>
                <c:pt idx="36">
                  <c:v>6.2563763172631473E-2</c:v>
                </c:pt>
                <c:pt idx="37">
                  <c:v>5.5722630119784317E-2</c:v>
                </c:pt>
                <c:pt idx="38">
                  <c:v>5.8574436963805925E-2</c:v>
                </c:pt>
                <c:pt idx="39">
                  <c:v>6.0513195332689444E-2</c:v>
                </c:pt>
                <c:pt idx="40">
                  <c:v>7.6055753628543027E-2</c:v>
                </c:pt>
                <c:pt idx="41">
                  <c:v>0.10745194984767073</c:v>
                </c:pt>
                <c:pt idx="42">
                  <c:v>0.11759594758119964</c:v>
                </c:pt>
                <c:pt idx="43">
                  <c:v>0.15015606392662417</c:v>
                </c:pt>
                <c:pt idx="44">
                  <c:v>0.16755976610734019</c:v>
                </c:pt>
                <c:pt idx="45">
                  <c:v>0.19139994363698726</c:v>
                </c:pt>
                <c:pt idx="46">
                  <c:v>0.21879055555555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G$2:$G$48</c:f>
              <c:numCache>
                <c:formatCode>0.0%</c:formatCode>
                <c:ptCount val="47"/>
                <c:pt idx="0">
                  <c:v>0.12414341713069897</c:v>
                </c:pt>
                <c:pt idx="1">
                  <c:v>0.11437568290731388</c:v>
                </c:pt>
                <c:pt idx="2">
                  <c:v>0.11182343378307631</c:v>
                </c:pt>
                <c:pt idx="3">
                  <c:v>0.11076191221810888</c:v>
                </c:pt>
                <c:pt idx="4">
                  <c:v>0.10710366236046658</c:v>
                </c:pt>
                <c:pt idx="5">
                  <c:v>0.10156314043239838</c:v>
                </c:pt>
                <c:pt idx="6">
                  <c:v>8.9176918761659993E-2</c:v>
                </c:pt>
                <c:pt idx="7">
                  <c:v>8.5957444521479284E-2</c:v>
                </c:pt>
                <c:pt idx="8">
                  <c:v>7.1941768318601551E-2</c:v>
                </c:pt>
                <c:pt idx="9">
                  <c:v>7.0669671910575549E-2</c:v>
                </c:pt>
                <c:pt idx="10">
                  <c:v>7.3583489245770475E-2</c:v>
                </c:pt>
                <c:pt idx="11">
                  <c:v>7.8180083270180126E-2</c:v>
                </c:pt>
                <c:pt idx="12">
                  <c:v>8.5477852754834188E-2</c:v>
                </c:pt>
                <c:pt idx="13">
                  <c:v>8.9983315114205167E-2</c:v>
                </c:pt>
                <c:pt idx="14">
                  <c:v>8.9949577898847957E-2</c:v>
                </c:pt>
                <c:pt idx="15">
                  <c:v>9.4595954347435215E-2</c:v>
                </c:pt>
                <c:pt idx="16">
                  <c:v>9.7686326688905839E-2</c:v>
                </c:pt>
                <c:pt idx="17">
                  <c:v>0.1262152272393742</c:v>
                </c:pt>
                <c:pt idx="18">
                  <c:v>0.11591817897514217</c:v>
                </c:pt>
                <c:pt idx="19">
                  <c:v>8.0886610113346677E-2</c:v>
                </c:pt>
                <c:pt idx="20">
                  <c:v>7.4100439391654713E-2</c:v>
                </c:pt>
                <c:pt idx="21">
                  <c:v>5.5121085435775839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52194440086152E-2</c:v>
                </c:pt>
                <c:pt idx="25">
                  <c:v>1.0636312403480909E-2</c:v>
                </c:pt>
                <c:pt idx="26">
                  <c:v>6.0361685478406757E-2</c:v>
                </c:pt>
                <c:pt idx="27">
                  <c:v>9.440822163511646E-2</c:v>
                </c:pt>
                <c:pt idx="28">
                  <c:v>4.8720381816488044E-2</c:v>
                </c:pt>
                <c:pt idx="29">
                  <c:v>3.3204757225260444E-2</c:v>
                </c:pt>
                <c:pt idx="30">
                  <c:v>2.8893011274618172E-2</c:v>
                </c:pt>
                <c:pt idx="31">
                  <c:v>3.0900848032954769E-2</c:v>
                </c:pt>
                <c:pt idx="32">
                  <c:v>3.5907046635863325E-2</c:v>
                </c:pt>
                <c:pt idx="33">
                  <c:v>4.3689415546865049E-2</c:v>
                </c:pt>
                <c:pt idx="34">
                  <c:v>4.593461250312162E-2</c:v>
                </c:pt>
                <c:pt idx="35">
                  <c:v>4.4342580655429814E-2</c:v>
                </c:pt>
                <c:pt idx="36">
                  <c:v>3.7977391765922991E-2</c:v>
                </c:pt>
                <c:pt idx="37">
                  <c:v>2.3980622220019576E-2</c:v>
                </c:pt>
                <c:pt idx="38">
                  <c:v>1.9971037410876025E-2</c:v>
                </c:pt>
                <c:pt idx="39">
                  <c:v>3.1657604163191778E-2</c:v>
                </c:pt>
                <c:pt idx="40">
                  <c:v>3.2871778967984558E-2</c:v>
                </c:pt>
                <c:pt idx="41">
                  <c:v>4.2247270037410037E-2</c:v>
                </c:pt>
                <c:pt idx="42">
                  <c:v>5.8291652674926211E-2</c:v>
                </c:pt>
                <c:pt idx="43">
                  <c:v>6.7957231355260508E-2</c:v>
                </c:pt>
                <c:pt idx="44">
                  <c:v>7.1818174179981958E-2</c:v>
                </c:pt>
                <c:pt idx="45">
                  <c:v>0.11165832569028313</c:v>
                </c:pt>
                <c:pt idx="46">
                  <c:v>0.12627906678260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I$2:$I$48</c:f>
              <c:numCache>
                <c:formatCode>0.0%</c:formatCode>
                <c:ptCount val="47"/>
                <c:pt idx="0">
                  <c:v>0.20041622316240157</c:v>
                </c:pt>
                <c:pt idx="1">
                  <c:v>0.11393738111488728</c:v>
                </c:pt>
                <c:pt idx="2">
                  <c:v>0.13696192649742767</c:v>
                </c:pt>
                <c:pt idx="3">
                  <c:v>0.16094565106208872</c:v>
                </c:pt>
                <c:pt idx="4">
                  <c:v>0.13552716878830739</c:v>
                </c:pt>
                <c:pt idx="5">
                  <c:v>0.12811000283852739</c:v>
                </c:pt>
                <c:pt idx="6">
                  <c:v>0.16118654268509794</c:v>
                </c:pt>
                <c:pt idx="7">
                  <c:v>0.20194515697399251</c:v>
                </c:pt>
                <c:pt idx="8">
                  <c:v>0.23569771732827244</c:v>
                </c:pt>
                <c:pt idx="9">
                  <c:v>0.26006889918995696</c:v>
                </c:pt>
                <c:pt idx="10">
                  <c:v>0.29862218971432081</c:v>
                </c:pt>
                <c:pt idx="11">
                  <c:v>0.31237430945675926</c:v>
                </c:pt>
                <c:pt idx="12">
                  <c:v>0.30083059468179424</c:v>
                </c:pt>
                <c:pt idx="13">
                  <c:v>0.22638466908547436</c:v>
                </c:pt>
                <c:pt idx="14">
                  <c:v>0.19627826865650083</c:v>
                </c:pt>
                <c:pt idx="15">
                  <c:v>0.15186949781045722</c:v>
                </c:pt>
                <c:pt idx="16">
                  <c:v>0.10816847956012431</c:v>
                </c:pt>
                <c:pt idx="17">
                  <c:v>7.8741721676523255E-2</c:v>
                </c:pt>
                <c:pt idx="18">
                  <c:v>5.3207363387199558E-2</c:v>
                </c:pt>
                <c:pt idx="19">
                  <c:v>3.0152159013022619E-2</c:v>
                </c:pt>
                <c:pt idx="20">
                  <c:v>1.6180870521318998E-2</c:v>
                </c:pt>
                <c:pt idx="21">
                  <c:v>9.1995544718384056E-3</c:v>
                </c:pt>
                <c:pt idx="22">
                  <c:v>5.8087141569764288E-3</c:v>
                </c:pt>
                <c:pt idx="23">
                  <c:v>3.7043650373311623E-3</c:v>
                </c:pt>
                <c:pt idx="24">
                  <c:v>2.7204321821338992E-3</c:v>
                </c:pt>
                <c:pt idx="25">
                  <c:v>2.1344901189314447E-3</c:v>
                </c:pt>
                <c:pt idx="26">
                  <c:v>2.0111258354252631E-3</c:v>
                </c:pt>
                <c:pt idx="27">
                  <c:v>2.3433512530782099E-3</c:v>
                </c:pt>
                <c:pt idx="28">
                  <c:v>2.8143125717401832E-3</c:v>
                </c:pt>
                <c:pt idx="29">
                  <c:v>3.483765110247946E-3</c:v>
                </c:pt>
                <c:pt idx="30">
                  <c:v>3.8001043022869918E-3</c:v>
                </c:pt>
                <c:pt idx="31">
                  <c:v>4.7280722475605544E-3</c:v>
                </c:pt>
                <c:pt idx="32">
                  <c:v>5.0274835768869819E-3</c:v>
                </c:pt>
                <c:pt idx="33">
                  <c:v>6.2417235210754972E-3</c:v>
                </c:pt>
                <c:pt idx="34">
                  <c:v>8.9875520632396125E-3</c:v>
                </c:pt>
                <c:pt idx="35">
                  <c:v>1.2670956577321677E-2</c:v>
                </c:pt>
                <c:pt idx="36">
                  <c:v>1.6751379694115217E-2</c:v>
                </c:pt>
                <c:pt idx="37">
                  <c:v>2.0444139194139194E-2</c:v>
                </c:pt>
                <c:pt idx="38">
                  <c:v>2.9341924839187968E-2</c:v>
                </c:pt>
                <c:pt idx="39">
                  <c:v>4.6197617026627683E-2</c:v>
                </c:pt>
                <c:pt idx="40">
                  <c:v>6.6678390888034927E-2</c:v>
                </c:pt>
                <c:pt idx="41">
                  <c:v>0.11175634569997235</c:v>
                </c:pt>
                <c:pt idx="42">
                  <c:v>0.15054810327419588</c:v>
                </c:pt>
                <c:pt idx="43">
                  <c:v>0.19202110339815676</c:v>
                </c:pt>
                <c:pt idx="44">
                  <c:v>0.2228222939699312</c:v>
                </c:pt>
                <c:pt idx="45">
                  <c:v>0.24583406029879135</c:v>
                </c:pt>
                <c:pt idx="46">
                  <c:v>0.25382659606727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B$2:$B$48</c:f>
              <c:numCache>
                <c:formatCode>0.0%</c:formatCode>
                <c:ptCount val="47"/>
                <c:pt idx="0">
                  <c:v>0.10679753347684898</c:v>
                </c:pt>
                <c:pt idx="1">
                  <c:v>1.2007875095285362E-2</c:v>
                </c:pt>
                <c:pt idx="2">
                  <c:v>8.8792686859189181E-3</c:v>
                </c:pt>
                <c:pt idx="3">
                  <c:v>1.4503296411692311E-2</c:v>
                </c:pt>
                <c:pt idx="4">
                  <c:v>9.4930249801100514E-3</c:v>
                </c:pt>
                <c:pt idx="5">
                  <c:v>6.4037155624362269E-3</c:v>
                </c:pt>
                <c:pt idx="6">
                  <c:v>7.7532963335576414E-3</c:v>
                </c:pt>
                <c:pt idx="7">
                  <c:v>8.975691756430957E-3</c:v>
                </c:pt>
                <c:pt idx="8">
                  <c:v>9.8912321633642421E-3</c:v>
                </c:pt>
                <c:pt idx="9">
                  <c:v>9.9626543908140942E-3</c:v>
                </c:pt>
                <c:pt idx="10">
                  <c:v>1.0592370259408368E-2</c:v>
                </c:pt>
                <c:pt idx="11">
                  <c:v>1.0723457412946081E-2</c:v>
                </c:pt>
                <c:pt idx="12">
                  <c:v>9.580810722985696E-3</c:v>
                </c:pt>
                <c:pt idx="13">
                  <c:v>8.5160716185759475E-3</c:v>
                </c:pt>
                <c:pt idx="14">
                  <c:v>7.7651229220020435E-3</c:v>
                </c:pt>
                <c:pt idx="15">
                  <c:v>7.2916792862906055E-3</c:v>
                </c:pt>
                <c:pt idx="16">
                  <c:v>6.4211271632174391E-3</c:v>
                </c:pt>
                <c:pt idx="17">
                  <c:v>1.8444063846157937E-3</c:v>
                </c:pt>
                <c:pt idx="18">
                  <c:v>1.4115118493612489E-3</c:v>
                </c:pt>
                <c:pt idx="19">
                  <c:v>7.4098169106467026E-4</c:v>
                </c:pt>
                <c:pt idx="20">
                  <c:v>8.6120809584681781E-4</c:v>
                </c:pt>
                <c:pt idx="21">
                  <c:v>4.9881726393380377E-4</c:v>
                </c:pt>
                <c:pt idx="22">
                  <c:v>2.9789941089196711E-4</c:v>
                </c:pt>
                <c:pt idx="23">
                  <c:v>1.7685809996859976E-4</c:v>
                </c:pt>
                <c:pt idx="24">
                  <c:v>1.245386887048178E-4</c:v>
                </c:pt>
                <c:pt idx="25">
                  <c:v>1.3166365240795764E-4</c:v>
                </c:pt>
                <c:pt idx="26">
                  <c:v>2.681675536414919E-4</c:v>
                </c:pt>
                <c:pt idx="27">
                  <c:v>6.4409399305953466E-4</c:v>
                </c:pt>
                <c:pt idx="28">
                  <c:v>9.0159440790610313E-4</c:v>
                </c:pt>
                <c:pt idx="29">
                  <c:v>1.0093815667241268E-3</c:v>
                </c:pt>
                <c:pt idx="30">
                  <c:v>1.3506209872354159E-3</c:v>
                </c:pt>
                <c:pt idx="31">
                  <c:v>2.2811625726840068E-3</c:v>
                </c:pt>
                <c:pt idx="32">
                  <c:v>2.9086338296266472E-3</c:v>
                </c:pt>
                <c:pt idx="33">
                  <c:v>3.4916371627395923E-3</c:v>
                </c:pt>
                <c:pt idx="34">
                  <c:v>3.9811019098729217E-3</c:v>
                </c:pt>
                <c:pt idx="35">
                  <c:v>4.2482883843448288E-3</c:v>
                </c:pt>
                <c:pt idx="36">
                  <c:v>4.6186527556964282E-3</c:v>
                </c:pt>
                <c:pt idx="37">
                  <c:v>3.7153286309805867E-3</c:v>
                </c:pt>
                <c:pt idx="38">
                  <c:v>4.1767487026011648E-3</c:v>
                </c:pt>
                <c:pt idx="39">
                  <c:v>3.4915051237960574E-3</c:v>
                </c:pt>
                <c:pt idx="40">
                  <c:v>4.2739857734111512E-3</c:v>
                </c:pt>
                <c:pt idx="41">
                  <c:v>6.4678359816184704E-3</c:v>
                </c:pt>
                <c:pt idx="42">
                  <c:v>1.1260932316328791E-2</c:v>
                </c:pt>
                <c:pt idx="43">
                  <c:v>1.1888815733118794E-2</c:v>
                </c:pt>
                <c:pt idx="44">
                  <c:v>1.8350695161505143E-2</c:v>
                </c:pt>
                <c:pt idx="45">
                  <c:v>1.6540229210157478E-2</c:v>
                </c:pt>
                <c:pt idx="46">
                  <c:v>1.064457676175525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K$2:$K$48</c:f>
              <c:numCache>
                <c:formatCode>0.0%</c:formatCode>
                <c:ptCount val="47"/>
                <c:pt idx="0">
                  <c:v>0.52065604020734946</c:v>
                </c:pt>
                <c:pt idx="1">
                  <c:v>0.42958009202326836</c:v>
                </c:pt>
                <c:pt idx="2">
                  <c:v>0.48059389432174571</c:v>
                </c:pt>
                <c:pt idx="3">
                  <c:v>0.49905674281503315</c:v>
                </c:pt>
                <c:pt idx="4">
                  <c:v>0.54843772292766446</c:v>
                </c:pt>
                <c:pt idx="5">
                  <c:v>0.53232065799762518</c:v>
                </c:pt>
                <c:pt idx="6">
                  <c:v>0.56984236990725035</c:v>
                </c:pt>
                <c:pt idx="7">
                  <c:v>0.47673808712071541</c:v>
                </c:pt>
                <c:pt idx="8">
                  <c:v>0.43970876648763668</c:v>
                </c:pt>
                <c:pt idx="9">
                  <c:v>0.40335891722373524</c:v>
                </c:pt>
                <c:pt idx="10">
                  <c:v>0.35692677284455915</c:v>
                </c:pt>
                <c:pt idx="11">
                  <c:v>0.31390998392001401</c:v>
                </c:pt>
                <c:pt idx="12">
                  <c:v>0.25291402929534301</c:v>
                </c:pt>
                <c:pt idx="13">
                  <c:v>0.24510638297872339</c:v>
                </c:pt>
                <c:pt idx="14">
                  <c:v>0.15767452103061</c:v>
                </c:pt>
                <c:pt idx="15">
                  <c:v>0.10165857125932946</c:v>
                </c:pt>
                <c:pt idx="16">
                  <c:v>8.0529566299488403E-2</c:v>
                </c:pt>
                <c:pt idx="17">
                  <c:v>0.1056636525108994</c:v>
                </c:pt>
                <c:pt idx="18">
                  <c:v>4.4592335048058524E-3</c:v>
                </c:pt>
                <c:pt idx="19">
                  <c:v>4.0546865299078902E-3</c:v>
                </c:pt>
                <c:pt idx="20">
                  <c:v>3.7149667739427945E-3</c:v>
                </c:pt>
                <c:pt idx="21">
                  <c:v>3.3112728006350627E-3</c:v>
                </c:pt>
                <c:pt idx="22">
                  <c:v>2.5507810377950191E-3</c:v>
                </c:pt>
                <c:pt idx="23">
                  <c:v>1.7027706672380159E-3</c:v>
                </c:pt>
                <c:pt idx="24">
                  <c:v>1.4944865563529142E-3</c:v>
                </c:pt>
                <c:pt idx="25">
                  <c:v>1.1143593832323882E-3</c:v>
                </c:pt>
                <c:pt idx="26">
                  <c:v>3.1342756917201154E-3</c:v>
                </c:pt>
                <c:pt idx="27">
                  <c:v>2.6993334088871944E-3</c:v>
                </c:pt>
                <c:pt idx="28">
                  <c:v>3.7159496149197376E-3</c:v>
                </c:pt>
                <c:pt idx="29">
                  <c:v>4.7399930730790164E-3</c:v>
                </c:pt>
                <c:pt idx="30">
                  <c:v>5.5878831166102979E-3</c:v>
                </c:pt>
                <c:pt idx="31">
                  <c:v>6.5239530920714311E-3</c:v>
                </c:pt>
                <c:pt idx="32">
                  <c:v>7.7124665822428592E-3</c:v>
                </c:pt>
                <c:pt idx="33">
                  <c:v>9.8303966917105603E-3</c:v>
                </c:pt>
                <c:pt idx="34">
                  <c:v>1.5589806715206118E-2</c:v>
                </c:pt>
                <c:pt idx="35">
                  <c:v>2.224345053956335E-2</c:v>
                </c:pt>
                <c:pt idx="36">
                  <c:v>3.6583052094772125E-2</c:v>
                </c:pt>
                <c:pt idx="37">
                  <c:v>3.7084191136634519E-2</c:v>
                </c:pt>
                <c:pt idx="38">
                  <c:v>4.6885125313063734E-2</c:v>
                </c:pt>
                <c:pt idx="39">
                  <c:v>5.523456975396647E-2</c:v>
                </c:pt>
                <c:pt idx="40">
                  <c:v>6.8052396458902653E-2</c:v>
                </c:pt>
                <c:pt idx="41">
                  <c:v>0.10147384317005825</c:v>
                </c:pt>
                <c:pt idx="42">
                  <c:v>0.12502907812093761</c:v>
                </c:pt>
                <c:pt idx="43">
                  <c:v>0.17416037702646928</c:v>
                </c:pt>
                <c:pt idx="44">
                  <c:v>0.16134898157534461</c:v>
                </c:pt>
                <c:pt idx="45">
                  <c:v>0.17444968932132363</c:v>
                </c:pt>
                <c:pt idx="46">
                  <c:v>0.1378633947617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8</c:f>
              <c:numCache>
                <c:formatCode>0.0%</c:formatCode>
                <c:ptCount val="47"/>
                <c:pt idx="0">
                  <c:v>0.15392115960684827</c:v>
                </c:pt>
                <c:pt idx="1">
                  <c:v>0.16326516341829925</c:v>
                </c:pt>
                <c:pt idx="2">
                  <c:v>0.14159963610877749</c:v>
                </c:pt>
                <c:pt idx="3">
                  <c:v>0.11237229976949557</c:v>
                </c:pt>
                <c:pt idx="4">
                  <c:v>8.1783930351765885E-2</c:v>
                </c:pt>
                <c:pt idx="5">
                  <c:v>6.0424841109681639E-2</c:v>
                </c:pt>
                <c:pt idx="6">
                  <c:v>5.3739897055751648E-2</c:v>
                </c:pt>
                <c:pt idx="7">
                  <c:v>4.7888224597649784E-2</c:v>
                </c:pt>
                <c:pt idx="8">
                  <c:v>4.2220325025883278E-2</c:v>
                </c:pt>
                <c:pt idx="9">
                  <c:v>4.3424864423268136E-2</c:v>
                </c:pt>
                <c:pt idx="10">
                  <c:v>4.7223752763692922E-2</c:v>
                </c:pt>
                <c:pt idx="11">
                  <c:v>5.3141984565076517E-2</c:v>
                </c:pt>
                <c:pt idx="12">
                  <c:v>6.7442865734476012E-2</c:v>
                </c:pt>
                <c:pt idx="13">
                  <c:v>7.2044179193662253E-2</c:v>
                </c:pt>
                <c:pt idx="14">
                  <c:v>6.7625876127270348E-2</c:v>
                </c:pt>
                <c:pt idx="15">
                  <c:v>6.6111997888420787E-2</c:v>
                </c:pt>
                <c:pt idx="16">
                  <c:v>6.0924288240999602E-2</c:v>
                </c:pt>
                <c:pt idx="17">
                  <c:v>5.1421516487783911E-2</c:v>
                </c:pt>
                <c:pt idx="18">
                  <c:v>4.4925818090813981E-2</c:v>
                </c:pt>
                <c:pt idx="19">
                  <c:v>4.4480153167629662E-2</c:v>
                </c:pt>
                <c:pt idx="20">
                  <c:v>4.3981566977387726E-2</c:v>
                </c:pt>
                <c:pt idx="21">
                  <c:v>4.1285274957263349E-2</c:v>
                </c:pt>
                <c:pt idx="22">
                  <c:v>3.7673574055685992E-2</c:v>
                </c:pt>
                <c:pt idx="23">
                  <c:v>3.7965536854416844E-2</c:v>
                </c:pt>
                <c:pt idx="24">
                  <c:v>4.8131356609743534E-2</c:v>
                </c:pt>
                <c:pt idx="25">
                  <c:v>9.3462828687909227E-2</c:v>
                </c:pt>
                <c:pt idx="26">
                  <c:v>0.12762717605079926</c:v>
                </c:pt>
                <c:pt idx="27">
                  <c:v>0.14406512635130878</c:v>
                </c:pt>
                <c:pt idx="28">
                  <c:v>0.14570920265752002</c:v>
                </c:pt>
                <c:pt idx="29">
                  <c:v>0.12970359557137495</c:v>
                </c:pt>
                <c:pt idx="30">
                  <c:v>0.11495478173903269</c:v>
                </c:pt>
                <c:pt idx="31">
                  <c:v>0.101043949395679</c:v>
                </c:pt>
                <c:pt idx="32">
                  <c:v>8.7603715711332047E-2</c:v>
                </c:pt>
                <c:pt idx="33">
                  <c:v>7.0604866629298685E-2</c:v>
                </c:pt>
                <c:pt idx="34">
                  <c:v>4.9225372105284507E-2</c:v>
                </c:pt>
                <c:pt idx="35">
                  <c:v>3.7508566182650409E-2</c:v>
                </c:pt>
                <c:pt idx="36">
                  <c:v>2.8296975391726136E-2</c:v>
                </c:pt>
                <c:pt idx="37">
                  <c:v>2.2637663152571263E-2</c:v>
                </c:pt>
                <c:pt idx="38">
                  <c:v>1.84807568381977E-2</c:v>
                </c:pt>
                <c:pt idx="39">
                  <c:v>1.8327828849107011E-2</c:v>
                </c:pt>
                <c:pt idx="40">
                  <c:v>1.9948931333953934E-2</c:v>
                </c:pt>
                <c:pt idx="41">
                  <c:v>2.1524999824857609E-2</c:v>
                </c:pt>
                <c:pt idx="42">
                  <c:v>2.3668628500089176E-2</c:v>
                </c:pt>
                <c:pt idx="43">
                  <c:v>2.9743917503424588E-2</c:v>
                </c:pt>
                <c:pt idx="44">
                  <c:v>3.9448885726945375E-2</c:v>
                </c:pt>
                <c:pt idx="45">
                  <c:v>5.3653519481898289E-2</c:v>
                </c:pt>
                <c:pt idx="46" formatCode="General">
                  <c:v>6.337436092538709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I$2:$I$48</c:f>
              <c:numCache>
                <c:formatCode>General</c:formatCode>
                <c:ptCount val="47"/>
                <c:pt idx="0">
                  <c:v>7.3421948823339509</c:v>
                </c:pt>
                <c:pt idx="1">
                  <c:v>6.3614998212184224</c:v>
                </c:pt>
                <c:pt idx="2">
                  <c:v>6.2486764956033616</c:v>
                </c:pt>
                <c:pt idx="3">
                  <c:v>5.8407767799181425</c:v>
                </c:pt>
                <c:pt idx="4">
                  <c:v>5.1898729782927919</c:v>
                </c:pt>
                <c:pt idx="5">
                  <c:v>5.0510135006127177</c:v>
                </c:pt>
                <c:pt idx="6">
                  <c:v>4.2872863733723063</c:v>
                </c:pt>
                <c:pt idx="7">
                  <c:v>3.3760210510968163</c:v>
                </c:pt>
                <c:pt idx="8">
                  <c:v>3.0288723568966294</c:v>
                </c:pt>
                <c:pt idx="9">
                  <c:v>3.0028362048316155</c:v>
                </c:pt>
                <c:pt idx="10">
                  <c:v>3.0809446610266575</c:v>
                </c:pt>
                <c:pt idx="11">
                  <c:v>3.2284828560617371</c:v>
                </c:pt>
                <c:pt idx="12">
                  <c:v>3.8793866576870868</c:v>
                </c:pt>
                <c:pt idx="13">
                  <c:v>4.764615827897563</c:v>
                </c:pt>
                <c:pt idx="14">
                  <c:v>4.8774391535126238</c:v>
                </c:pt>
                <c:pt idx="15">
                  <c:v>4.7906519799625773</c:v>
                </c:pt>
                <c:pt idx="16">
                  <c:v>4.7038648064125308</c:v>
                </c:pt>
                <c:pt idx="17">
                  <c:v>4.5042543072474235</c:v>
                </c:pt>
                <c:pt idx="18">
                  <c:v>3.497523094066882</c:v>
                </c:pt>
                <c:pt idx="19">
                  <c:v>2.3779685552712793</c:v>
                </c:pt>
                <c:pt idx="20">
                  <c:v>1.9961049916510738</c:v>
                </c:pt>
                <c:pt idx="21">
                  <c:v>1.6142414280308686</c:v>
                </c:pt>
                <c:pt idx="22">
                  <c:v>1.1803055602806349</c:v>
                </c:pt>
                <c:pt idx="23">
                  <c:v>0.79844199666042948</c:v>
                </c:pt>
                <c:pt idx="24">
                  <c:v>0.60751021485032686</c:v>
                </c:pt>
                <c:pt idx="25">
                  <c:v>0.43393586775023346</c:v>
                </c:pt>
                <c:pt idx="26">
                  <c:v>0.30375510742516343</c:v>
                </c:pt>
                <c:pt idx="27">
                  <c:v>0.1909317818101027</c:v>
                </c:pt>
                <c:pt idx="28">
                  <c:v>0.19961049916510737</c:v>
                </c:pt>
                <c:pt idx="29">
                  <c:v>0.31243382478016807</c:v>
                </c:pt>
                <c:pt idx="30">
                  <c:v>0.41657843304022413</c:v>
                </c:pt>
                <c:pt idx="31">
                  <c:v>0.42525715039522882</c:v>
                </c:pt>
                <c:pt idx="32">
                  <c:v>0.57279534543030819</c:v>
                </c:pt>
                <c:pt idx="33">
                  <c:v>0.67693995369036419</c:v>
                </c:pt>
                <c:pt idx="34">
                  <c:v>0.70297610575537817</c:v>
                </c:pt>
                <c:pt idx="35">
                  <c:v>0.85051430079045764</c:v>
                </c:pt>
                <c:pt idx="36">
                  <c:v>0.83315686608044826</c:v>
                </c:pt>
                <c:pt idx="37">
                  <c:v>0.85051430079045764</c:v>
                </c:pt>
                <c:pt idx="38">
                  <c:v>0.98937377847053232</c:v>
                </c:pt>
                <c:pt idx="39">
                  <c:v>1.0848396693755837</c:v>
                </c:pt>
                <c:pt idx="40">
                  <c:v>1.3538799073807284</c:v>
                </c:pt>
                <c:pt idx="41">
                  <c:v>1.7444221883559385</c:v>
                </c:pt>
                <c:pt idx="42">
                  <c:v>2.2738239470112234</c:v>
                </c:pt>
                <c:pt idx="43">
                  <c:v>2.6990810974064523</c:v>
                </c:pt>
                <c:pt idx="44">
                  <c:v>3.0896233783816625</c:v>
                </c:pt>
                <c:pt idx="45">
                  <c:v>3.9922099833021476</c:v>
                </c:pt>
                <c:pt idx="46">
                  <c:v>4.842724284092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C$2:$C$48</c:f>
              <c:numCache>
                <c:formatCode>General</c:formatCode>
                <c:ptCount val="47"/>
                <c:pt idx="0">
                  <c:v>20.665911784235913</c:v>
                </c:pt>
                <c:pt idx="1">
                  <c:v>22.367810401761222</c:v>
                </c:pt>
                <c:pt idx="2">
                  <c:v>20.619156327710492</c:v>
                </c:pt>
                <c:pt idx="3">
                  <c:v>18.861151162354677</c:v>
                </c:pt>
                <c:pt idx="4">
                  <c:v>17.729669114439496</c:v>
                </c:pt>
                <c:pt idx="5">
                  <c:v>17.449136375286972</c:v>
                </c:pt>
                <c:pt idx="6">
                  <c:v>19.048172988456358</c:v>
                </c:pt>
                <c:pt idx="7">
                  <c:v>21.479456727778231</c:v>
                </c:pt>
                <c:pt idx="8">
                  <c:v>24.509210310625484</c:v>
                </c:pt>
                <c:pt idx="9">
                  <c:v>27.679230263049003</c:v>
                </c:pt>
                <c:pt idx="10">
                  <c:v>27.735336810879506</c:v>
                </c:pt>
                <c:pt idx="11">
                  <c:v>24.527912493235654</c:v>
                </c:pt>
                <c:pt idx="12">
                  <c:v>20.899689066863015</c:v>
                </c:pt>
                <c:pt idx="13">
                  <c:v>17.056390540473441</c:v>
                </c:pt>
                <c:pt idx="14">
                  <c:v>12.717484174914407</c:v>
                </c:pt>
                <c:pt idx="15">
                  <c:v>9.2482293007281964</c:v>
                </c:pt>
                <c:pt idx="16">
                  <c:v>7.0507228440334284</c:v>
                </c:pt>
                <c:pt idx="17">
                  <c:v>5.5171438699996322</c:v>
                </c:pt>
                <c:pt idx="18">
                  <c:v>3.9555116220505839</c:v>
                </c:pt>
                <c:pt idx="19">
                  <c:v>2.5528479262879653</c:v>
                </c:pt>
                <c:pt idx="20">
                  <c:v>1.5242278827287119</c:v>
                </c:pt>
                <c:pt idx="21">
                  <c:v>0.87900258267790754</c:v>
                </c:pt>
                <c:pt idx="22">
                  <c:v>0.5984698435253839</c:v>
                </c:pt>
                <c:pt idx="23">
                  <c:v>0.37404365220336494</c:v>
                </c:pt>
                <c:pt idx="24">
                  <c:v>0.22442619132201896</c:v>
                </c:pt>
                <c:pt idx="25">
                  <c:v>0.16831964349151421</c:v>
                </c:pt>
                <c:pt idx="26">
                  <c:v>9.351091305084123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3091527827117772</c:v>
                </c:pt>
                <c:pt idx="33">
                  <c:v>0.1589685521864300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9637291740676657</c:v>
                </c:pt>
                <c:pt idx="37">
                  <c:v>0.2618305565423554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73873621310164572</c:v>
                </c:pt>
                <c:pt idx="41">
                  <c:v>1.299801691406693</c:v>
                </c:pt>
                <c:pt idx="42">
                  <c:v>2.3377728262710304</c:v>
                </c:pt>
                <c:pt idx="43">
                  <c:v>4.3576085481692015</c:v>
                </c:pt>
                <c:pt idx="44">
                  <c:v>7.0974783005588495</c:v>
                </c:pt>
                <c:pt idx="45">
                  <c:v>10.566733174745059</c:v>
                </c:pt>
                <c:pt idx="46">
                  <c:v>13.026070187982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D$2:$D$48</c:f>
              <c:numCache>
                <c:formatCode>General</c:formatCode>
                <c:ptCount val="47"/>
                <c:pt idx="0">
                  <c:v>9.4429287036155678</c:v>
                </c:pt>
                <c:pt idx="1">
                  <c:v>10.246550605244641</c:v>
                </c:pt>
                <c:pt idx="2">
                  <c:v>10.21387097153699</c:v>
                </c:pt>
                <c:pt idx="3">
                  <c:v>9.7830939817543072</c:v>
                </c:pt>
                <c:pt idx="4">
                  <c:v>9.2706179077024942</c:v>
                </c:pt>
                <c:pt idx="5">
                  <c:v>8.900743871647709</c:v>
                </c:pt>
                <c:pt idx="6">
                  <c:v>8.0941510942270298</c:v>
                </c:pt>
                <c:pt idx="7">
                  <c:v>7.0008688029164974</c:v>
                </c:pt>
                <c:pt idx="8">
                  <c:v>6.3160819329516107</c:v>
                </c:pt>
                <c:pt idx="9">
                  <c:v>5.8867903810647313</c:v>
                </c:pt>
                <c:pt idx="10">
                  <c:v>5.5273144102805611</c:v>
                </c:pt>
                <c:pt idx="11">
                  <c:v>5.4990910902603165</c:v>
                </c:pt>
                <c:pt idx="12">
                  <c:v>5.7397320293802983</c:v>
                </c:pt>
                <c:pt idx="13">
                  <c:v>6.1497128886217478</c:v>
                </c:pt>
                <c:pt idx="14">
                  <c:v>6.1408002612469339</c:v>
                </c:pt>
                <c:pt idx="15">
                  <c:v>6.0635574906652119</c:v>
                </c:pt>
                <c:pt idx="16">
                  <c:v>6.0680138043526179</c:v>
                </c:pt>
                <c:pt idx="17">
                  <c:v>5.2673627785151487</c:v>
                </c:pt>
                <c:pt idx="18">
                  <c:v>4.1250610366431388</c:v>
                </c:pt>
                <c:pt idx="19">
                  <c:v>3.2501381160155516</c:v>
                </c:pt>
                <c:pt idx="20">
                  <c:v>2.6128852587163416</c:v>
                </c:pt>
                <c:pt idx="21">
                  <c:v>2.0662441130610754</c:v>
                </c:pt>
                <c:pt idx="22">
                  <c:v>1.4572145757821098</c:v>
                </c:pt>
                <c:pt idx="23">
                  <c:v>1.0561463439154741</c:v>
                </c:pt>
                <c:pt idx="24">
                  <c:v>0.84669960060734206</c:v>
                </c:pt>
                <c:pt idx="25">
                  <c:v>0.66101986363204779</c:v>
                </c:pt>
                <c:pt idx="26">
                  <c:v>0.54367026986366174</c:v>
                </c:pt>
                <c:pt idx="27">
                  <c:v>0.42334980030367103</c:v>
                </c:pt>
                <c:pt idx="28">
                  <c:v>0.39364104238762399</c:v>
                </c:pt>
                <c:pt idx="29">
                  <c:v>0.64170917098661717</c:v>
                </c:pt>
                <c:pt idx="30">
                  <c:v>0.95068025331350692</c:v>
                </c:pt>
                <c:pt idx="31">
                  <c:v>1.2121173229747213</c:v>
                </c:pt>
                <c:pt idx="32">
                  <c:v>1.8998750687312114</c:v>
                </c:pt>
                <c:pt idx="33">
                  <c:v>2.3024287384936493</c:v>
                </c:pt>
                <c:pt idx="34">
                  <c:v>2.1137781257267507</c:v>
                </c:pt>
                <c:pt idx="35">
                  <c:v>1.926612950855654</c:v>
                </c:pt>
                <c:pt idx="36">
                  <c:v>1.6310108095909852</c:v>
                </c:pt>
                <c:pt idx="37">
                  <c:v>1.3294669167431072</c:v>
                </c:pt>
                <c:pt idx="38">
                  <c:v>1.0903114155189282</c:v>
                </c:pt>
                <c:pt idx="39">
                  <c:v>0.85264135219055137</c:v>
                </c:pt>
                <c:pt idx="40">
                  <c:v>0.67587424259007134</c:v>
                </c:pt>
                <c:pt idx="41">
                  <c:v>0.60902953727896536</c:v>
                </c:pt>
                <c:pt idx="42">
                  <c:v>0.60605866148736065</c:v>
                </c:pt>
                <c:pt idx="43">
                  <c:v>0.65210723625723366</c:v>
                </c:pt>
                <c:pt idx="44">
                  <c:v>0.71152475208932786</c:v>
                </c:pt>
                <c:pt idx="45">
                  <c:v>0.84967047639894677</c:v>
                </c:pt>
                <c:pt idx="46">
                  <c:v>1.1675541861006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F$2:$F$48</c:f>
              <c:numCache>
                <c:formatCode>General</c:formatCode>
                <c:ptCount val="47"/>
                <c:pt idx="0">
                  <c:v>10.98899477491239</c:v>
                </c:pt>
                <c:pt idx="1">
                  <c:v>11.029235219617592</c:v>
                </c:pt>
                <c:pt idx="2">
                  <c:v>10.737491995504874</c:v>
                </c:pt>
                <c:pt idx="3">
                  <c:v>10.003103879634928</c:v>
                </c:pt>
                <c:pt idx="4">
                  <c:v>9.0473933178863675</c:v>
                </c:pt>
                <c:pt idx="5">
                  <c:v>7.8619768842789428</c:v>
                </c:pt>
                <c:pt idx="6">
                  <c:v>7.042077823410442</c:v>
                </c:pt>
                <c:pt idx="7">
                  <c:v>6.896206211354083</c:v>
                </c:pt>
                <c:pt idx="8">
                  <c:v>7.1896261206628518</c:v>
                </c:pt>
                <c:pt idx="9">
                  <c:v>7.9173074957485978</c:v>
                </c:pt>
                <c:pt idx="10">
                  <c:v>8.8948149650458088</c:v>
                </c:pt>
                <c:pt idx="11">
                  <c:v>9.7499244150313622</c:v>
                </c:pt>
                <c:pt idx="12">
                  <c:v>10.154005547279437</c:v>
                </c:pt>
                <c:pt idx="13">
                  <c:v>10.068494602280882</c:v>
                </c:pt>
                <c:pt idx="14">
                  <c:v>9.0004461323969647</c:v>
                </c:pt>
                <c:pt idx="15">
                  <c:v>7.741255550163336</c:v>
                </c:pt>
                <c:pt idx="16">
                  <c:v>6.6161997836137152</c:v>
                </c:pt>
                <c:pt idx="17">
                  <c:v>5.3754527385366373</c:v>
                </c:pt>
                <c:pt idx="18">
                  <c:v>4.3090809538487704</c:v>
                </c:pt>
                <c:pt idx="19">
                  <c:v>3.2527692803372039</c:v>
                </c:pt>
                <c:pt idx="20">
                  <c:v>2.310472200157045</c:v>
                </c:pt>
                <c:pt idx="21">
                  <c:v>1.639798121737003</c:v>
                </c:pt>
                <c:pt idx="22">
                  <c:v>1.1652962112548231</c:v>
                </c:pt>
                <c:pt idx="23">
                  <c:v>0.83163585724085221</c:v>
                </c:pt>
                <c:pt idx="24">
                  <c:v>0.5834864482254366</c:v>
                </c:pt>
                <c:pt idx="25">
                  <c:v>0.41078787303227576</c:v>
                </c:pt>
                <c:pt idx="26">
                  <c:v>0.31018676126926947</c:v>
                </c:pt>
                <c:pt idx="27">
                  <c:v>0.24311935342726523</c:v>
                </c:pt>
                <c:pt idx="28">
                  <c:v>0.23138255705491453</c:v>
                </c:pt>
                <c:pt idx="29">
                  <c:v>0.27497637215221726</c:v>
                </c:pt>
                <c:pt idx="30">
                  <c:v>0.39569770626782486</c:v>
                </c:pt>
                <c:pt idx="31">
                  <c:v>0.63378700410693978</c:v>
                </c:pt>
                <c:pt idx="32">
                  <c:v>0.91379343184730744</c:v>
                </c:pt>
                <c:pt idx="33">
                  <c:v>1.1384692481180214</c:v>
                </c:pt>
                <c:pt idx="34">
                  <c:v>1.2876942305664809</c:v>
                </c:pt>
                <c:pt idx="35">
                  <c:v>1.3346414160558837</c:v>
                </c:pt>
                <c:pt idx="36">
                  <c:v>1.2876942305664809</c:v>
                </c:pt>
                <c:pt idx="37">
                  <c:v>1.1988299151758253</c:v>
                </c:pt>
                <c:pt idx="38">
                  <c:v>1.0529583031194663</c:v>
                </c:pt>
                <c:pt idx="39">
                  <c:v>0.86852293155395444</c:v>
                </c:pt>
                <c:pt idx="40">
                  <c:v>0.75283165302649724</c:v>
                </c:pt>
                <c:pt idx="41">
                  <c:v>0.74947828263439709</c:v>
                </c:pt>
                <c:pt idx="42">
                  <c:v>0.83331254243690223</c:v>
                </c:pt>
                <c:pt idx="43">
                  <c:v>0.9355903393959587</c:v>
                </c:pt>
                <c:pt idx="44">
                  <c:v>1.0814619514523178</c:v>
                </c:pt>
                <c:pt idx="45">
                  <c:v>1.2524838414494286</c:v>
                </c:pt>
                <c:pt idx="46">
                  <c:v>1.2642206378217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K$2:$K$48</c:f>
              <c:numCache>
                <c:formatCode>General</c:formatCode>
                <c:ptCount val="47"/>
                <c:pt idx="0">
                  <c:v>17.421520757506556</c:v>
                </c:pt>
                <c:pt idx="1">
                  <c:v>15.190092129341792</c:v>
                </c:pt>
                <c:pt idx="2">
                  <c:v>13.296448568743253</c:v>
                </c:pt>
                <c:pt idx="3">
                  <c:v>11.556343675220271</c:v>
                </c:pt>
                <c:pt idx="4">
                  <c:v>10.635111672766929</c:v>
                </c:pt>
                <c:pt idx="5">
                  <c:v>10.287090694062332</c:v>
                </c:pt>
                <c:pt idx="6">
                  <c:v>10.67605531732041</c:v>
                </c:pt>
                <c:pt idx="7">
                  <c:v>13.398807680126959</c:v>
                </c:pt>
                <c:pt idx="8">
                  <c:v>17.534115780028632</c:v>
                </c:pt>
                <c:pt idx="9">
                  <c:v>22.498532682138315</c:v>
                </c:pt>
                <c:pt idx="10">
                  <c:v>28.619607542883863</c:v>
                </c:pt>
                <c:pt idx="11">
                  <c:v>34.904456981843332</c:v>
                </c:pt>
                <c:pt idx="12">
                  <c:v>38.272071746367224</c:v>
                </c:pt>
                <c:pt idx="13">
                  <c:v>35.15011884916423</c:v>
                </c:pt>
                <c:pt idx="14">
                  <c:v>28.650315276298972</c:v>
                </c:pt>
                <c:pt idx="15">
                  <c:v>22.273342637094164</c:v>
                </c:pt>
                <c:pt idx="16">
                  <c:v>16.623119688713658</c:v>
                </c:pt>
                <c:pt idx="17">
                  <c:v>12.283093366044577</c:v>
                </c:pt>
                <c:pt idx="18">
                  <c:v>8.6902885564765366</c:v>
                </c:pt>
                <c:pt idx="19">
                  <c:v>5.7525820597642099</c:v>
                </c:pt>
                <c:pt idx="20">
                  <c:v>3.5006816093227044</c:v>
                </c:pt>
                <c:pt idx="21">
                  <c:v>2.1393054279194303</c:v>
                </c:pt>
                <c:pt idx="22">
                  <c:v>1.4330275593718671</c:v>
                </c:pt>
                <c:pt idx="23">
                  <c:v>0.79840106879289741</c:v>
                </c:pt>
                <c:pt idx="24">
                  <c:v>0.53226737919526501</c:v>
                </c:pt>
                <c:pt idx="25">
                  <c:v>0.32754915642785537</c:v>
                </c:pt>
                <c:pt idx="26">
                  <c:v>0.18424640049066862</c:v>
                </c:pt>
                <c:pt idx="27">
                  <c:v>0.18424640049066862</c:v>
                </c:pt>
                <c:pt idx="28">
                  <c:v>9.2123200245334311E-2</c:v>
                </c:pt>
                <c:pt idx="29">
                  <c:v>7.1651377968593361E-2</c:v>
                </c:pt>
                <c:pt idx="30">
                  <c:v>0.12283093366044574</c:v>
                </c:pt>
                <c:pt idx="31">
                  <c:v>0.11259502252207527</c:v>
                </c:pt>
                <c:pt idx="32">
                  <c:v>0.17401048935229815</c:v>
                </c:pt>
                <c:pt idx="33">
                  <c:v>0.20471822276740961</c:v>
                </c:pt>
                <c:pt idx="34">
                  <c:v>0.21495413390578008</c:v>
                </c:pt>
                <c:pt idx="35">
                  <c:v>0.4503800900883011</c:v>
                </c:pt>
                <c:pt idx="36">
                  <c:v>0.69604195740919261</c:v>
                </c:pt>
                <c:pt idx="37">
                  <c:v>0.82910880220800887</c:v>
                </c:pt>
                <c:pt idx="38">
                  <c:v>1.1566579586358643</c:v>
                </c:pt>
                <c:pt idx="39">
                  <c:v>1.3511402702649034</c:v>
                </c:pt>
                <c:pt idx="40">
                  <c:v>1.8015203603532044</c:v>
                </c:pt>
                <c:pt idx="41">
                  <c:v>3.1219528972029962</c:v>
                </c:pt>
                <c:pt idx="42">
                  <c:v>5.5683356592735409</c:v>
                </c:pt>
                <c:pt idx="43">
                  <c:v>9.6729360257601034</c:v>
                </c:pt>
                <c:pt idx="44">
                  <c:v>14.453106527379116</c:v>
                </c:pt>
                <c:pt idx="45">
                  <c:v>18.158506359469232</c:v>
                </c:pt>
                <c:pt idx="46">
                  <c:v>21.137156500735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E$2:$E$48</c:f>
              <c:numCache>
                <c:formatCode>General</c:formatCode>
                <c:ptCount val="47"/>
                <c:pt idx="0">
                  <c:v>13.757908497788257</c:v>
                </c:pt>
                <c:pt idx="1">
                  <c:v>12.83566450042734</c:v>
                </c:pt>
                <c:pt idx="2">
                  <c:v>11.985564753185924</c:v>
                </c:pt>
                <c:pt idx="3">
                  <c:v>10.818030305418715</c:v>
                </c:pt>
                <c:pt idx="4">
                  <c:v>9.0553057941656494</c:v>
                </c:pt>
                <c:pt idx="5">
                  <c:v>7.3274510038036738</c:v>
                </c:pt>
                <c:pt idx="6">
                  <c:v>5.7414799053433772</c:v>
                </c:pt>
                <c:pt idx="7">
                  <c:v>4.5450877575283695</c:v>
                </c:pt>
                <c:pt idx="8">
                  <c:v>3.7118216686481684</c:v>
                </c:pt>
                <c:pt idx="9">
                  <c:v>3.1442869010414514</c:v>
                </c:pt>
                <c:pt idx="10">
                  <c:v>2.8424834547082183</c:v>
                </c:pt>
                <c:pt idx="11">
                  <c:v>2.8088161379857861</c:v>
                </c:pt>
                <c:pt idx="12">
                  <c:v>3.1178340093309687</c:v>
                </c:pt>
                <c:pt idx="13">
                  <c:v>3.5014009391329659</c:v>
                </c:pt>
                <c:pt idx="14">
                  <c:v>3.6709399269137863</c:v>
                </c:pt>
                <c:pt idx="15">
                  <c:v>3.7527034103825505</c:v>
                </c:pt>
                <c:pt idx="16">
                  <c:v>3.8380741063572903</c:v>
                </c:pt>
                <c:pt idx="17">
                  <c:v>3.624046164336113</c:v>
                </c:pt>
                <c:pt idx="18">
                  <c:v>3.091381117620486</c:v>
                </c:pt>
                <c:pt idx="19">
                  <c:v>2.4949886499659701</c:v>
                </c:pt>
                <c:pt idx="20">
                  <c:v>1.9442875407204694</c:v>
                </c:pt>
                <c:pt idx="21">
                  <c:v>1.3995984523182599</c:v>
                </c:pt>
                <c:pt idx="22">
                  <c:v>0.92104159319225687</c:v>
                </c:pt>
                <c:pt idx="23">
                  <c:v>0.63246459271426525</c:v>
                </c:pt>
                <c:pt idx="24">
                  <c:v>0.44729435074088714</c:v>
                </c:pt>
                <c:pt idx="25">
                  <c:v>0.27775536296006703</c:v>
                </c:pt>
                <c:pt idx="26">
                  <c:v>0.18517024197337803</c:v>
                </c:pt>
                <c:pt idx="27">
                  <c:v>0.14068128773302097</c:v>
                </c:pt>
                <c:pt idx="28">
                  <c:v>0.13947888356436267</c:v>
                </c:pt>
                <c:pt idx="29">
                  <c:v>0.12745484187777967</c:v>
                </c:pt>
                <c:pt idx="30">
                  <c:v>0.12625243770912137</c:v>
                </c:pt>
                <c:pt idx="31">
                  <c:v>0.15751494609423716</c:v>
                </c:pt>
                <c:pt idx="32">
                  <c:v>0.24048083373165979</c:v>
                </c:pt>
                <c:pt idx="33">
                  <c:v>0.34508999640493176</c:v>
                </c:pt>
                <c:pt idx="34">
                  <c:v>0.51342658001709363</c:v>
                </c:pt>
                <c:pt idx="35">
                  <c:v>0.70821605533973808</c:v>
                </c:pt>
                <c:pt idx="36">
                  <c:v>0.89098148897579943</c:v>
                </c:pt>
                <c:pt idx="37">
                  <c:v>0.9871738224684633</c:v>
                </c:pt>
                <c:pt idx="38">
                  <c:v>0.94028005989078967</c:v>
                </c:pt>
                <c:pt idx="39">
                  <c:v>0.92104159319225687</c:v>
                </c:pt>
                <c:pt idx="40">
                  <c:v>0.96913775993858897</c:v>
                </c:pt>
                <c:pt idx="41">
                  <c:v>1.1759512769478162</c:v>
                </c:pt>
                <c:pt idx="42">
                  <c:v>1.5955903318095626</c:v>
                </c:pt>
                <c:pt idx="43">
                  <c:v>2.1835659702834707</c:v>
                </c:pt>
                <c:pt idx="44">
                  <c:v>2.8184353713350525</c:v>
                </c:pt>
                <c:pt idx="45">
                  <c:v>3.2428840428714323</c:v>
                </c:pt>
                <c:pt idx="46">
                  <c:v>3.0432849508741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G$2:$G$48</c:f>
              <c:numCache>
                <c:formatCode>General</c:formatCode>
                <c:ptCount val="47"/>
                <c:pt idx="0">
                  <c:v>7.5082212725085071</c:v>
                </c:pt>
                <c:pt idx="1">
                  <c:v>6.9280144258953786</c:v>
                </c:pt>
                <c:pt idx="2">
                  <c:v>6.255893623383141</c:v>
                </c:pt>
                <c:pt idx="3">
                  <c:v>5.5435604651650419</c:v>
                </c:pt>
                <c:pt idx="4">
                  <c:v>4.8139934402158602</c:v>
                </c:pt>
                <c:pt idx="5">
                  <c:v>4.5956977949554751</c:v>
                </c:pt>
                <c:pt idx="6">
                  <c:v>4.6129316616865577</c:v>
                </c:pt>
                <c:pt idx="7">
                  <c:v>3.9005985034684594</c:v>
                </c:pt>
                <c:pt idx="8">
                  <c:v>2.9699696999899756</c:v>
                </c:pt>
                <c:pt idx="9">
                  <c:v>2.487421431519651</c:v>
                </c:pt>
                <c:pt idx="10">
                  <c:v>2.0738086299736578</c:v>
                </c:pt>
                <c:pt idx="11">
                  <c:v>1.8497683624695784</c:v>
                </c:pt>
                <c:pt idx="12">
                  <c:v>1.7348759175956918</c:v>
                </c:pt>
                <c:pt idx="13">
                  <c:v>1.6659404506713598</c:v>
                </c:pt>
                <c:pt idx="14">
                  <c:v>1.6487065839402768</c:v>
                </c:pt>
                <c:pt idx="15">
                  <c:v>1.6659404506713598</c:v>
                </c:pt>
                <c:pt idx="16">
                  <c:v>1.5970049837470275</c:v>
                </c:pt>
                <c:pt idx="17">
                  <c:v>1.5797711170159445</c:v>
                </c:pt>
                <c:pt idx="18">
                  <c:v>1.3097738715623102</c:v>
                </c:pt>
                <c:pt idx="19">
                  <c:v>1.0282873816212874</c:v>
                </c:pt>
                <c:pt idx="20">
                  <c:v>0.7870132473861251</c:v>
                </c:pt>
                <c:pt idx="21">
                  <c:v>0.6319084468063777</c:v>
                </c:pt>
                <c:pt idx="22">
                  <c:v>0.46531440173924177</c:v>
                </c:pt>
                <c:pt idx="23">
                  <c:v>0.1953171562856077</c:v>
                </c:pt>
                <c:pt idx="24">
                  <c:v>0.12063706711758121</c:v>
                </c:pt>
                <c:pt idx="25">
                  <c:v>9.1913955899109501E-2</c:v>
                </c:pt>
                <c:pt idx="26">
                  <c:v>0.1034032003864982</c:v>
                </c:pt>
                <c:pt idx="27">
                  <c:v>0.14936017833605295</c:v>
                </c:pt>
                <c:pt idx="28">
                  <c:v>0.24701875647885677</c:v>
                </c:pt>
                <c:pt idx="29">
                  <c:v>0.35042195686535493</c:v>
                </c:pt>
                <c:pt idx="30">
                  <c:v>0.47680364622663046</c:v>
                </c:pt>
                <c:pt idx="31">
                  <c:v>0.53424986866357393</c:v>
                </c:pt>
                <c:pt idx="32">
                  <c:v>0.45956977949554745</c:v>
                </c:pt>
                <c:pt idx="33">
                  <c:v>0.49403751295771353</c:v>
                </c:pt>
                <c:pt idx="34">
                  <c:v>0.51127137968879655</c:v>
                </c:pt>
                <c:pt idx="35">
                  <c:v>0.44808053500815886</c:v>
                </c:pt>
                <c:pt idx="36">
                  <c:v>0.46531440173924177</c:v>
                </c:pt>
                <c:pt idx="37">
                  <c:v>0.367655823596438</c:v>
                </c:pt>
                <c:pt idx="38">
                  <c:v>0.29297573442841152</c:v>
                </c:pt>
                <c:pt idx="39">
                  <c:v>0.29872035667210589</c:v>
                </c:pt>
                <c:pt idx="40">
                  <c:v>0.39637893481490971</c:v>
                </c:pt>
                <c:pt idx="41">
                  <c:v>0.72956702494918169</c:v>
                </c:pt>
                <c:pt idx="42">
                  <c:v>1.235093782394284</c:v>
                </c:pt>
                <c:pt idx="43">
                  <c:v>1.7004081841335259</c:v>
                </c:pt>
                <c:pt idx="44">
                  <c:v>2.0221070297804089</c:v>
                </c:pt>
                <c:pt idx="45">
                  <c:v>2.7114616990237299</c:v>
                </c:pt>
                <c:pt idx="46">
                  <c:v>3.2284777009562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J$2:$J$48</c:f>
              <c:numCache>
                <c:formatCode>General</c:formatCode>
                <c:ptCount val="47"/>
                <c:pt idx="0">
                  <c:v>10.780296968202181</c:v>
                </c:pt>
                <c:pt idx="1">
                  <c:v>11.23079324913145</c:v>
                </c:pt>
                <c:pt idx="2">
                  <c:v>11.064820935104878</c:v>
                </c:pt>
                <c:pt idx="3">
                  <c:v>10.148021486196187</c:v>
                </c:pt>
                <c:pt idx="4">
                  <c:v>9.8819388875186647</c:v>
                </c:pt>
                <c:pt idx="5">
                  <c:v>9.6079528453160687</c:v>
                </c:pt>
                <c:pt idx="6">
                  <c:v>8.1589881990523345</c:v>
                </c:pt>
                <c:pt idx="7">
                  <c:v>7.8533883827494391</c:v>
                </c:pt>
                <c:pt idx="8">
                  <c:v>8.2459260778281589</c:v>
                </c:pt>
                <c:pt idx="9">
                  <c:v>9.0072911374103768</c:v>
                </c:pt>
                <c:pt idx="10">
                  <c:v>10.651207390625958</c:v>
                </c:pt>
                <c:pt idx="11">
                  <c:v>12.474268363743237</c:v>
                </c:pt>
                <c:pt idx="12">
                  <c:v>14.932239300041536</c:v>
                </c:pt>
                <c:pt idx="13">
                  <c:v>17.324348206964206</c:v>
                </c:pt>
                <c:pt idx="14">
                  <c:v>18.762774928527843</c:v>
                </c:pt>
                <c:pt idx="15">
                  <c:v>18.472981999275095</c:v>
                </c:pt>
                <c:pt idx="16">
                  <c:v>15.949149033601175</c:v>
                </c:pt>
                <c:pt idx="17">
                  <c:v>12.181840953315465</c:v>
                </c:pt>
                <c:pt idx="18">
                  <c:v>9.5737045900407445</c:v>
                </c:pt>
                <c:pt idx="19">
                  <c:v>7.7559125792735149</c:v>
                </c:pt>
                <c:pt idx="20">
                  <c:v>5.4928932499270644</c:v>
                </c:pt>
                <c:pt idx="21">
                  <c:v>3.2509497699808141</c:v>
                </c:pt>
                <c:pt idx="22">
                  <c:v>2.2208676305460506</c:v>
                </c:pt>
                <c:pt idx="23">
                  <c:v>1.7967161613670302</c:v>
                </c:pt>
                <c:pt idx="24">
                  <c:v>1.0801372817602382</c:v>
                </c:pt>
                <c:pt idx="25">
                  <c:v>0.68233062433146752</c:v>
                </c:pt>
                <c:pt idx="26">
                  <c:v>0.48737901737961964</c:v>
                </c:pt>
                <c:pt idx="27">
                  <c:v>0.35302047745334614</c:v>
                </c:pt>
                <c:pt idx="28">
                  <c:v>0.21602745635204759</c:v>
                </c:pt>
                <c:pt idx="29">
                  <c:v>0.12908957757622355</c:v>
                </c:pt>
                <c:pt idx="30">
                  <c:v>0.12645509640119862</c:v>
                </c:pt>
                <c:pt idx="31">
                  <c:v>0.11328269052607376</c:v>
                </c:pt>
                <c:pt idx="32">
                  <c:v>8.9572359950849015E-2</c:v>
                </c:pt>
                <c:pt idx="33">
                  <c:v>0.1080137281760238</c:v>
                </c:pt>
                <c:pt idx="34">
                  <c:v>0.16070335167652322</c:v>
                </c:pt>
                <c:pt idx="35">
                  <c:v>0.21866193752707258</c:v>
                </c:pt>
                <c:pt idx="36">
                  <c:v>0.28452396690269688</c:v>
                </c:pt>
                <c:pt idx="37">
                  <c:v>0.38463425155364572</c:v>
                </c:pt>
                <c:pt idx="38">
                  <c:v>0.545337603230169</c:v>
                </c:pt>
                <c:pt idx="39">
                  <c:v>0.78244090898241636</c:v>
                </c:pt>
                <c:pt idx="40">
                  <c:v>1.1064820935104878</c:v>
                </c:pt>
                <c:pt idx="41">
                  <c:v>1.5227301191644331</c:v>
                </c:pt>
                <c:pt idx="42">
                  <c:v>2.3657640951724237</c:v>
                </c:pt>
                <c:pt idx="43">
                  <c:v>3.4643427451578366</c:v>
                </c:pt>
                <c:pt idx="44">
                  <c:v>4.9185763537716207</c:v>
                </c:pt>
                <c:pt idx="45">
                  <c:v>8.1431813120021843</c:v>
                </c:pt>
                <c:pt idx="46">
                  <c:v>11.062186453929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B$2:$B$48</c:f>
              <c:numCache>
                <c:formatCode>General</c:formatCode>
                <c:ptCount val="47"/>
                <c:pt idx="0">
                  <c:v>8.3360820683909242</c:v>
                </c:pt>
                <c:pt idx="1">
                  <c:v>7.8754629783585433</c:v>
                </c:pt>
                <c:pt idx="2">
                  <c:v>7.3474362166141036</c:v>
                </c:pt>
                <c:pt idx="3">
                  <c:v>6.5722479919254599</c:v>
                </c:pt>
                <c:pt idx="4">
                  <c:v>5.6734790357647134</c:v>
                </c:pt>
                <c:pt idx="5">
                  <c:v>4.505079392755742</c:v>
                </c:pt>
                <c:pt idx="6">
                  <c:v>3.7523603919711168</c:v>
                </c:pt>
                <c:pt idx="7">
                  <c:v>3.347914361698781</c:v>
                </c:pt>
                <c:pt idx="8">
                  <c:v>3.134456734610604</c:v>
                </c:pt>
                <c:pt idx="9">
                  <c:v>3.2692720780347155</c:v>
                </c:pt>
                <c:pt idx="10">
                  <c:v>3.8197680636831732</c:v>
                </c:pt>
                <c:pt idx="11">
                  <c:v>4.0332256907713511</c:v>
                </c:pt>
                <c:pt idx="12">
                  <c:v>4.392733273235649</c:v>
                </c:pt>
                <c:pt idx="13">
                  <c:v>4.7185370198439198</c:v>
                </c:pt>
                <c:pt idx="14">
                  <c:v>4.5500178405637799</c:v>
                </c:pt>
                <c:pt idx="15">
                  <c:v>3.9995218549153226</c:v>
                </c:pt>
                <c:pt idx="16">
                  <c:v>3.5389027648829394</c:v>
                </c:pt>
                <c:pt idx="17">
                  <c:v>3.0108760031385011</c:v>
                </c:pt>
                <c:pt idx="18">
                  <c:v>2.1682801067378015</c:v>
                </c:pt>
                <c:pt idx="19">
                  <c:v>1.5391418374252785</c:v>
                </c:pt>
                <c:pt idx="20">
                  <c:v>1.1234611952009332</c:v>
                </c:pt>
                <c:pt idx="21">
                  <c:v>0.85383050835270924</c:v>
                </c:pt>
                <c:pt idx="22">
                  <c:v>0.59543443345649461</c:v>
                </c:pt>
                <c:pt idx="23">
                  <c:v>0.41568064222434531</c:v>
                </c:pt>
                <c:pt idx="24">
                  <c:v>0.29209991075224268</c:v>
                </c:pt>
                <c:pt idx="25">
                  <c:v>0.23592685099219599</c:v>
                </c:pt>
                <c:pt idx="26">
                  <c:v>0.134815343424112</c:v>
                </c:pt>
                <c:pt idx="27">
                  <c:v>6.7407671712056E-2</c:v>
                </c:pt>
                <c:pt idx="28">
                  <c:v>8.9876895616074662E-2</c:v>
                </c:pt>
                <c:pt idx="29">
                  <c:v>8.9876895616074662E-2</c:v>
                </c:pt>
                <c:pt idx="30">
                  <c:v>0.12358073147210266</c:v>
                </c:pt>
                <c:pt idx="31">
                  <c:v>0.16851917928013999</c:v>
                </c:pt>
                <c:pt idx="32">
                  <c:v>0.16851917928013999</c:v>
                </c:pt>
                <c:pt idx="33">
                  <c:v>0.37074219441630801</c:v>
                </c:pt>
                <c:pt idx="34">
                  <c:v>0.70778055297658804</c:v>
                </c:pt>
                <c:pt idx="35">
                  <c:v>0.84259589640069998</c:v>
                </c:pt>
                <c:pt idx="36">
                  <c:v>1.1234611952009332</c:v>
                </c:pt>
                <c:pt idx="37">
                  <c:v>1.4492649418092038</c:v>
                </c:pt>
                <c:pt idx="38">
                  <c:v>1.3818572700971479</c:v>
                </c:pt>
                <c:pt idx="39">
                  <c:v>1.2807457625290639</c:v>
                </c:pt>
                <c:pt idx="40">
                  <c:v>1.5166726135212598</c:v>
                </c:pt>
                <c:pt idx="41">
                  <c:v>1.6627225688973812</c:v>
                </c:pt>
                <c:pt idx="42">
                  <c:v>1.6964264047534094</c:v>
                </c:pt>
                <c:pt idx="43">
                  <c:v>2.3929723457779879</c:v>
                </c:pt>
                <c:pt idx="44">
                  <c:v>4.0893987505313971</c:v>
                </c:pt>
                <c:pt idx="45">
                  <c:v>5.5049598564845734</c:v>
                </c:pt>
                <c:pt idx="46">
                  <c:v>5.8195289911408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L$2:$L$48</c:f>
              <c:numCache>
                <c:formatCode>General</c:formatCode>
                <c:ptCount val="47"/>
                <c:pt idx="0">
                  <c:v>21.730076899920537</c:v>
                </c:pt>
                <c:pt idx="1">
                  <c:v>22.298063732886419</c:v>
                </c:pt>
                <c:pt idx="2">
                  <c:v>22.572896071418299</c:v>
                </c:pt>
                <c:pt idx="3">
                  <c:v>23.012627813069304</c:v>
                </c:pt>
                <c:pt idx="4">
                  <c:v>23.562292490133061</c:v>
                </c:pt>
                <c:pt idx="5">
                  <c:v>24.405111661630823</c:v>
                </c:pt>
                <c:pt idx="6">
                  <c:v>24.8998098709882</c:v>
                </c:pt>
                <c:pt idx="7">
                  <c:v>24.551688908847822</c:v>
                </c:pt>
                <c:pt idx="8">
                  <c:v>24.166923634903196</c:v>
                </c:pt>
                <c:pt idx="9">
                  <c:v>23.653903269643685</c:v>
                </c:pt>
                <c:pt idx="10">
                  <c:v>20.978868507933402</c:v>
                </c:pt>
                <c:pt idx="11">
                  <c:v>18.083967875397615</c:v>
                </c:pt>
                <c:pt idx="12">
                  <c:v>16.105175037968085</c:v>
                </c:pt>
                <c:pt idx="13">
                  <c:v>12.862153443291918</c:v>
                </c:pt>
                <c:pt idx="14">
                  <c:v>10.55356179962414</c:v>
                </c:pt>
                <c:pt idx="15">
                  <c:v>9.1610779510626212</c:v>
                </c:pt>
                <c:pt idx="16">
                  <c:v>7.2738958931437203</c:v>
                </c:pt>
                <c:pt idx="17">
                  <c:v>4.9836264053780663</c:v>
                </c:pt>
                <c:pt idx="18">
                  <c:v>3.6094647127186725</c:v>
                </c:pt>
                <c:pt idx="19">
                  <c:v>2.784967697123037</c:v>
                </c:pt>
                <c:pt idx="20">
                  <c:v>1.8322155902125243</c:v>
                </c:pt>
                <c:pt idx="21">
                  <c:v>1.4840946280721448</c:v>
                </c:pt>
                <c:pt idx="22">
                  <c:v>0.9527521069105126</c:v>
                </c:pt>
                <c:pt idx="23">
                  <c:v>0.60463114477013291</c:v>
                </c:pt>
                <c:pt idx="24">
                  <c:v>0.56798683296588248</c:v>
                </c:pt>
                <c:pt idx="25">
                  <c:v>0.51302036525950678</c:v>
                </c:pt>
                <c:pt idx="26">
                  <c:v>0.25651018262975339</c:v>
                </c:pt>
                <c:pt idx="27">
                  <c:v>9.1610779510626211E-2</c:v>
                </c:pt>
                <c:pt idx="28">
                  <c:v>0.10993293541275144</c:v>
                </c:pt>
                <c:pt idx="29">
                  <c:v>0.25651018262975339</c:v>
                </c:pt>
                <c:pt idx="30">
                  <c:v>0.25651018262975339</c:v>
                </c:pt>
                <c:pt idx="31">
                  <c:v>0.10993293541275144</c:v>
                </c:pt>
                <c:pt idx="32">
                  <c:v>0.10993293541275144</c:v>
                </c:pt>
                <c:pt idx="33">
                  <c:v>0.14657724721700194</c:v>
                </c:pt>
                <c:pt idx="34">
                  <c:v>0.20154371492337766</c:v>
                </c:pt>
                <c:pt idx="35">
                  <c:v>0.62295330067225829</c:v>
                </c:pt>
                <c:pt idx="36">
                  <c:v>1.135973665931765</c:v>
                </c:pt>
                <c:pt idx="37">
                  <c:v>1.7222826547997727</c:v>
                </c:pt>
                <c:pt idx="38">
                  <c:v>2.5467796703954084</c:v>
                </c:pt>
                <c:pt idx="39">
                  <c:v>3.2979880623825437</c:v>
                </c:pt>
                <c:pt idx="40">
                  <c:v>4.0308742984675536</c:v>
                </c:pt>
                <c:pt idx="41">
                  <c:v>4.5255725078249345</c:v>
                </c:pt>
                <c:pt idx="42">
                  <c:v>5.8814120445822029</c:v>
                </c:pt>
                <c:pt idx="43">
                  <c:v>7.6220168552841008</c:v>
                </c:pt>
                <c:pt idx="44">
                  <c:v>9.051145015649869</c:v>
                </c:pt>
                <c:pt idx="45">
                  <c:v>8.4098695590754851</c:v>
                </c:pt>
                <c:pt idx="46">
                  <c:v>4.3973174165100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8</c:f>
              <c:numCache>
                <c:formatCode>General</c:formatCode>
                <c:ptCount val="47"/>
                <c:pt idx="0">
                  <c:v>6.0465707640824569</c:v>
                </c:pt>
                <c:pt idx="1">
                  <c:v>8.1825187174323393</c:v>
                </c:pt>
                <c:pt idx="2">
                  <c:v>12.036098407749041</c:v>
                </c:pt>
                <c:pt idx="3">
                  <c:v>15.160793781640711</c:v>
                </c:pt>
                <c:pt idx="4">
                  <c:v>14.854451097925841</c:v>
                </c:pt>
                <c:pt idx="5">
                  <c:v>11.995956952641576</c:v>
                </c:pt>
                <c:pt idx="6">
                  <c:v>8.6768924277032315</c:v>
                </c:pt>
                <c:pt idx="7">
                  <c:v>6.3000957437085559</c:v>
                </c:pt>
                <c:pt idx="8">
                  <c:v>4.702888372064133</c:v>
                </c:pt>
                <c:pt idx="9">
                  <c:v>3.4310380576065374</c:v>
                </c:pt>
                <c:pt idx="10">
                  <c:v>2.7127172819992578</c:v>
                </c:pt>
                <c:pt idx="11">
                  <c:v>2.2944010656161944</c:v>
                </c:pt>
                <c:pt idx="12">
                  <c:v>2.1866529492751021</c:v>
                </c:pt>
                <c:pt idx="13">
                  <c:v>2.2817248166348896</c:v>
                </c:pt>
                <c:pt idx="14">
                  <c:v>2.3366552288872109</c:v>
                </c:pt>
                <c:pt idx="15">
                  <c:v>2.2605977349993811</c:v>
                </c:pt>
                <c:pt idx="16">
                  <c:v>1.9986219227190791</c:v>
                </c:pt>
                <c:pt idx="17">
                  <c:v>1.8380561022892166</c:v>
                </c:pt>
                <c:pt idx="18">
                  <c:v>1.6436869512425405</c:v>
                </c:pt>
                <c:pt idx="19">
                  <c:v>1.2633994818033925</c:v>
                </c:pt>
                <c:pt idx="20">
                  <c:v>0.93381700828946401</c:v>
                </c:pt>
                <c:pt idx="21">
                  <c:v>0.81761805929416875</c:v>
                </c:pt>
                <c:pt idx="22">
                  <c:v>0.72888431642503415</c:v>
                </c:pt>
                <c:pt idx="23">
                  <c:v>0.54719141435966334</c:v>
                </c:pt>
                <c:pt idx="24">
                  <c:v>0.4880355857802402</c:v>
                </c:pt>
                <c:pt idx="25">
                  <c:v>0.41831621638306304</c:v>
                </c:pt>
                <c:pt idx="26">
                  <c:v>0.36127309596719082</c:v>
                </c:pt>
                <c:pt idx="27">
                  <c:v>0.49437371027089266</c:v>
                </c:pt>
                <c:pt idx="28">
                  <c:v>1.0352270001399035</c:v>
                </c:pt>
                <c:pt idx="29">
                  <c:v>1.7852383982004458</c:v>
                </c:pt>
                <c:pt idx="30">
                  <c:v>2.3746839758311258</c:v>
                </c:pt>
                <c:pt idx="31">
                  <c:v>2.8606068534478153</c:v>
                </c:pt>
                <c:pt idx="32">
                  <c:v>2.9599041371347039</c:v>
                </c:pt>
                <c:pt idx="33">
                  <c:v>2.6387724962749783</c:v>
                </c:pt>
                <c:pt idx="34">
                  <c:v>2.2965137737797452</c:v>
                </c:pt>
                <c:pt idx="35">
                  <c:v>1.8887610982144361</c:v>
                </c:pt>
                <c:pt idx="36">
                  <c:v>1.521149877756593</c:v>
                </c:pt>
                <c:pt idx="37">
                  <c:v>1.1810038634249103</c:v>
                </c:pt>
                <c:pt idx="38">
                  <c:v>0.84930868174743113</c:v>
                </c:pt>
                <c:pt idx="39">
                  <c:v>0.65282682253720448</c:v>
                </c:pt>
                <c:pt idx="40">
                  <c:v>0.52606433272415498</c:v>
                </c:pt>
                <c:pt idx="41">
                  <c:v>0.4880355857802402</c:v>
                </c:pt>
                <c:pt idx="42">
                  <c:v>0.45845767149052868</c:v>
                </c:pt>
                <c:pt idx="43">
                  <c:v>0.38873830209335153</c:v>
                </c:pt>
                <c:pt idx="44">
                  <c:v>0.4626830878176304</c:v>
                </c:pt>
                <c:pt idx="45">
                  <c:v>0.54719141435966334</c:v>
                </c:pt>
                <c:pt idx="46">
                  <c:v>0.45211954699987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8</c:f>
              <c:strCache>
                <c:ptCount val="47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</c:strCache>
            </c:strRef>
          </c:cat>
          <c:val>
            <c:numRef>
              <c:f>List1!$H$2:$H$48</c:f>
              <c:numCache>
                <c:formatCode>General</c:formatCode>
                <c:ptCount val="47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  <c:pt idx="41">
                  <c:v>2.6035903128397422</c:v>
                </c:pt>
                <c:pt idx="42">
                  <c:v>3.0091156663068808</c:v>
                </c:pt>
                <c:pt idx="43">
                  <c:v>3.3382376923091952</c:v>
                </c:pt>
                <c:pt idx="44">
                  <c:v>3.3294219237555622</c:v>
                </c:pt>
                <c:pt idx="45">
                  <c:v>3.1178434784683597</c:v>
                </c:pt>
                <c:pt idx="46">
                  <c:v>2.7578662625283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5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0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chart" Target="../charts/chart9.xml"/><Relationship Id="rId4" Type="http://schemas.openxmlformats.org/officeDocument/2006/relationships/tags" Target="../tags/tag56.xml"/><Relationship Id="rId9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10.xml"/><Relationship Id="rId4" Type="http://schemas.openxmlformats.org/officeDocument/2006/relationships/tags" Target="../tags/tag63.xml"/><Relationship Id="rId9" Type="http://schemas.openxmlformats.org/officeDocument/2006/relationships/notesSlide" Target="../notesSlides/notesSlide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chart" Target="../charts/chart1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1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6312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accent2"/>
                </a:solidFill>
              </a:rPr>
              <a:t>ČR patří mezi země s nadprůměrným počtem testů.</a:t>
            </a:r>
          </a:p>
          <a:p>
            <a:endParaRPr lang="cs-CZ" sz="2000" b="1" dirty="0">
              <a:solidFill>
                <a:schemeClr val="accent2"/>
              </a:solidFill>
            </a:endParaRPr>
          </a:p>
          <a:p>
            <a:r>
              <a:rPr lang="cs-CZ" sz="2000" b="1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CB4BE0D9-2B89-46A1-8B5D-54A173A94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5058" y="723208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214890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5.10. 2021—28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0 8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 9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9 6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9 97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 92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 45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 91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 51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 95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98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44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13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7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 3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4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18.10. 2021 do 21.11. 2021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56213778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5.10. 2021—28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8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8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7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2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0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8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8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8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47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2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1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4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0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5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1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47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56310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47. týden roku 2021.</a:t>
            </a:r>
            <a:r>
              <a:rPr lang="cs-CZ" sz="1100" dirty="0">
                <a:solidFill>
                  <a:srgbClr val="000000"/>
                </a:solidFill>
              </a:rPr>
              <a:t> 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Švédska za 31.—39., u Slovenska za 23., 27., 35., 37., 40. a 41., u Francie za 44.—47. týden, a u Lotyšska za 44.—47. týden roku 2020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 </a:t>
            </a:r>
            <a:r>
              <a:rPr lang="cs-CZ" sz="1100" dirty="0">
                <a:solidFill>
                  <a:srgbClr val="000000"/>
                </a:solidFill>
              </a:rPr>
              <a:t>U Lichtenštejnsku jsou údaje dostupné až od 29. týdne roku 2021</a:t>
            </a:r>
            <a:r>
              <a:rPr lang="cs-CZ" sz="1150" dirty="0">
                <a:solidFill>
                  <a:srgbClr val="000000"/>
                </a:solidFill>
              </a:rPr>
              <a:t>. 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6142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742377" y="323258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4867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5.1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7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319912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2.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24145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6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15</a:t>
            </a:r>
            <a:r>
              <a:rPr lang="cs-CZ" sz="1600" dirty="0">
                <a:solidFill>
                  <a:srgbClr val="000000"/>
                </a:solidFill>
              </a:rPr>
              <a:t>.11.—21.1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22.11.—28.11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7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095876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9658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7384" y="460527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394335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375381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38410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692640" y="6316981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.12. 2021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41901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3791276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33812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781788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73440A-A00D-4FD9-9C64-073BC91449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35B1809-FF4A-4FA6-84D2-6B53B965F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34204" y="6316981"/>
            <a:ext cx="2249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.12. 2021</a:t>
            </a: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853951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2469179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DAD6DAE-1E8D-4CA5-8E94-BEE4F57505C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6082D44-DCFC-4188-A99C-A1E523338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25892" y="6316981"/>
            <a:ext cx="2258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.12. 2021</a:t>
            </a: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16000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2379" y="508512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37057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55976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569" y="436628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7. týdne roku 2021 (22.11.—28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37828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73269" y="528398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73270" y="377029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83546" y="462658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9908" y="443964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1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7. týdne roku 2021 (22.11.—28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28331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28.11. 2021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772168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75077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.12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4415428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.12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9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076639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.12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6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57666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.12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52266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.12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732815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.12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8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1.12. 2021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5948179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6045200" y="690389"/>
            <a:ext cx="6087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obtížně 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28. 11. 2021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3F17573-C01F-4355-BB9E-BF4688CA06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3" y="714896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14.11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28.11. 202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464451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1284920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01933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7. týdne roku 2021 (22.11.—28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5785" y="228771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356" y="36950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5509" y="442751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272437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66113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7. týdne roku 2021 (22.11.—28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216287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347056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60570" y="422800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72" y="234398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.12. 2021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45. týdnu vs. 44. týdnu a 47. týdnu vs. 46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9225024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2180859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 obtížně 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7472</TotalTime>
  <Words>3018</Words>
  <Application>Microsoft Office PowerPoint</Application>
  <PresentationFormat>Širokoúhlá obrazovka</PresentationFormat>
  <Paragraphs>975</Paragraphs>
  <Slides>28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32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18.10. 2021 do 21.11. 2021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057</cp:revision>
  <dcterms:created xsi:type="dcterms:W3CDTF">2020-11-14T13:18:43Z</dcterms:created>
  <dcterms:modified xsi:type="dcterms:W3CDTF">2021-12-05T18:47:07Z</dcterms:modified>
</cp:coreProperties>
</file>